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57" r:id="rId2"/>
    <p:sldId id="296" r:id="rId3"/>
    <p:sldId id="284" r:id="rId4"/>
    <p:sldId id="285" r:id="rId5"/>
    <p:sldId id="286" r:id="rId6"/>
    <p:sldId id="287" r:id="rId7"/>
    <p:sldId id="291" r:id="rId8"/>
    <p:sldId id="258" r:id="rId9"/>
    <p:sldId id="290" r:id="rId10"/>
    <p:sldId id="289" r:id="rId11"/>
    <p:sldId id="292" r:id="rId12"/>
    <p:sldId id="293" r:id="rId13"/>
    <p:sldId id="295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EEC186"/>
    <a:srgbClr val="F5F5F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71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76" y="3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iket Chhabra" userId="598e0514-bef3-4e71-b6aa-f2edd6441cff" providerId="ADAL" clId="{556F5F75-FBDB-FE46-8D99-DF4A1D37B8B8}"/>
    <pc:docChg chg="undo custSel modSld">
      <pc:chgData name="Aniket Chhabra" userId="598e0514-bef3-4e71-b6aa-f2edd6441cff" providerId="ADAL" clId="{556F5F75-FBDB-FE46-8D99-DF4A1D37B8B8}" dt="2022-04-30T07:02:44.104" v="59" actId="20577"/>
      <pc:docMkLst>
        <pc:docMk/>
      </pc:docMkLst>
      <pc:sldChg chg="modSp mod">
        <pc:chgData name="Aniket Chhabra" userId="598e0514-bef3-4e71-b6aa-f2edd6441cff" providerId="ADAL" clId="{556F5F75-FBDB-FE46-8D99-DF4A1D37B8B8}" dt="2022-04-30T07:02:44.104" v="59" actId="20577"/>
        <pc:sldMkLst>
          <pc:docMk/>
          <pc:sldMk cId="4100885018" sldId="296"/>
        </pc:sldMkLst>
        <pc:spChg chg="mod">
          <ac:chgData name="Aniket Chhabra" userId="598e0514-bef3-4e71-b6aa-f2edd6441cff" providerId="ADAL" clId="{556F5F75-FBDB-FE46-8D99-DF4A1D37B8B8}" dt="2022-04-30T07:02:44.104" v="59" actId="20577"/>
          <ac:spMkLst>
            <pc:docMk/>
            <pc:sldMk cId="4100885018" sldId="296"/>
            <ac:spMk id="12" creationId="{49A8185B-98F6-46E9-A8B0-AAB1EB08E384}"/>
          </ac:spMkLst>
        </pc:spChg>
      </pc:sldChg>
    </pc:docChg>
  </pc:docChgLst>
  <pc:docChgLst>
    <pc:chgData name="Aniket Chhabra" userId="598e0514-bef3-4e71-b6aa-f2edd6441cff" providerId="ADAL" clId="{3ACAA428-FEF0-4514-AF29-92C470E4ABE5}"/>
    <pc:docChg chg="undo custSel addSld delSld modSld sldOrd delMainMaster">
      <pc:chgData name="Aniket Chhabra" userId="598e0514-bef3-4e71-b6aa-f2edd6441cff" providerId="ADAL" clId="{3ACAA428-FEF0-4514-AF29-92C470E4ABE5}" dt="2021-06-26T09:16:58.525" v="3122" actId="14100"/>
      <pc:docMkLst>
        <pc:docMk/>
      </pc:docMkLst>
      <pc:sldChg chg="del">
        <pc:chgData name="Aniket Chhabra" userId="598e0514-bef3-4e71-b6aa-f2edd6441cff" providerId="ADAL" clId="{3ACAA428-FEF0-4514-AF29-92C470E4ABE5}" dt="2021-06-25T12:03:42.610" v="0" actId="47"/>
        <pc:sldMkLst>
          <pc:docMk/>
          <pc:sldMk cId="418989288" sldId="256"/>
        </pc:sldMkLst>
      </pc:sldChg>
      <pc:sldChg chg="modSp mod">
        <pc:chgData name="Aniket Chhabra" userId="598e0514-bef3-4e71-b6aa-f2edd6441cff" providerId="ADAL" clId="{3ACAA428-FEF0-4514-AF29-92C470E4ABE5}" dt="2021-06-25T18:52:50.397" v="2518"/>
        <pc:sldMkLst>
          <pc:docMk/>
          <pc:sldMk cId="0" sldId="257"/>
        </pc:sldMkLst>
        <pc:spChg chg="mod">
          <ac:chgData name="Aniket Chhabra" userId="598e0514-bef3-4e71-b6aa-f2edd6441cff" providerId="ADAL" clId="{3ACAA428-FEF0-4514-AF29-92C470E4ABE5}" dt="2021-06-25T18:52:49.894" v="2516" actId="339"/>
          <ac:spMkLst>
            <pc:docMk/>
            <pc:sldMk cId="0" sldId="257"/>
            <ac:spMk id="277" creationId="{00000000-0000-0000-0000-000000000000}"/>
          </ac:spMkLst>
        </pc:spChg>
        <pc:spChg chg="mod">
          <ac:chgData name="Aniket Chhabra" userId="598e0514-bef3-4e71-b6aa-f2edd6441cff" providerId="ADAL" clId="{3ACAA428-FEF0-4514-AF29-92C470E4ABE5}" dt="2021-06-25T18:52:44.039" v="2515" actId="339"/>
          <ac:spMkLst>
            <pc:docMk/>
            <pc:sldMk cId="0" sldId="257"/>
            <ac:spMk id="278" creationId="{00000000-0000-0000-0000-000000000000}"/>
          </ac:spMkLst>
        </pc:spChg>
        <pc:graphicFrameChg chg="mod">
          <ac:chgData name="Aniket Chhabra" userId="598e0514-bef3-4e71-b6aa-f2edd6441cff" providerId="ADAL" clId="{3ACAA428-FEF0-4514-AF29-92C470E4ABE5}" dt="2021-06-25T18:52:50.397" v="2518"/>
          <ac:graphicFrameMkLst>
            <pc:docMk/>
            <pc:sldMk cId="0" sldId="257"/>
            <ac:graphicFrameMk id="2" creationId="{AD18B3B3-320F-44DA-9264-B9CC041E5B23}"/>
          </ac:graphicFrameMkLst>
        </pc:graphicFrameChg>
      </pc:sldChg>
      <pc:sldChg chg="modSp mod">
        <pc:chgData name="Aniket Chhabra" userId="598e0514-bef3-4e71-b6aa-f2edd6441cff" providerId="ADAL" clId="{3ACAA428-FEF0-4514-AF29-92C470E4ABE5}" dt="2021-06-26T03:07:58.662" v="2888" actId="20577"/>
        <pc:sldMkLst>
          <pc:docMk/>
          <pc:sldMk cId="0" sldId="258"/>
        </pc:sldMkLst>
        <pc:spChg chg="mod">
          <ac:chgData name="Aniket Chhabra" userId="598e0514-bef3-4e71-b6aa-f2edd6441cff" providerId="ADAL" clId="{3ACAA428-FEF0-4514-AF29-92C470E4ABE5}" dt="2021-06-25T14:54:07.501" v="252" actId="1035"/>
          <ac:spMkLst>
            <pc:docMk/>
            <pc:sldMk cId="0" sldId="258"/>
            <ac:spMk id="16" creationId="{510FD048-4D9C-4FFF-8C5D-358452DF87FB}"/>
          </ac:spMkLst>
        </pc:spChg>
        <pc:spChg chg="mod">
          <ac:chgData name="Aniket Chhabra" userId="598e0514-bef3-4e71-b6aa-f2edd6441cff" providerId="ADAL" clId="{3ACAA428-FEF0-4514-AF29-92C470E4ABE5}" dt="2021-06-26T03:07:58.662" v="2888" actId="20577"/>
          <ac:spMkLst>
            <pc:docMk/>
            <pc:sldMk cId="0" sldId="258"/>
            <ac:spMk id="23" creationId="{417CB156-CC08-4B61-B03D-4A6D99C99EA3}"/>
          </ac:spMkLst>
        </pc:spChg>
        <pc:spChg chg="mod">
          <ac:chgData name="Aniket Chhabra" userId="598e0514-bef3-4e71-b6aa-f2edd6441cff" providerId="ADAL" clId="{3ACAA428-FEF0-4514-AF29-92C470E4ABE5}" dt="2021-06-25T15:01:19.878" v="301" actId="14100"/>
          <ac:spMkLst>
            <pc:docMk/>
            <pc:sldMk cId="0" sldId="258"/>
            <ac:spMk id="34" creationId="{23CAF2AD-4903-4FA8-BDB7-7CD8E83C58AF}"/>
          </ac:spMkLst>
        </pc:spChg>
        <pc:spChg chg="mod">
          <ac:chgData name="Aniket Chhabra" userId="598e0514-bef3-4e71-b6aa-f2edd6441cff" providerId="ADAL" clId="{3ACAA428-FEF0-4514-AF29-92C470E4ABE5}" dt="2021-06-26T03:06:30.504" v="2876" actId="1076"/>
          <ac:spMkLst>
            <pc:docMk/>
            <pc:sldMk cId="0" sldId="258"/>
            <ac:spMk id="36" creationId="{D7ACD3C3-CD7B-49C2-8AB7-16114ECF92BD}"/>
          </ac:spMkLst>
        </pc:spChg>
        <pc:spChg chg="mod">
          <ac:chgData name="Aniket Chhabra" userId="598e0514-bef3-4e71-b6aa-f2edd6441cff" providerId="ADAL" clId="{3ACAA428-FEF0-4514-AF29-92C470E4ABE5}" dt="2021-06-26T03:06:09.386" v="2860" actId="20577"/>
          <ac:spMkLst>
            <pc:docMk/>
            <pc:sldMk cId="0" sldId="258"/>
            <ac:spMk id="292" creationId="{00000000-0000-0000-0000-000000000000}"/>
          </ac:spMkLst>
        </pc:spChg>
        <pc:spChg chg="mod">
          <ac:chgData name="Aniket Chhabra" userId="598e0514-bef3-4e71-b6aa-f2edd6441cff" providerId="ADAL" clId="{3ACAA428-FEF0-4514-AF29-92C470E4ABE5}" dt="2021-06-25T15:01:08.637" v="296" actId="1076"/>
          <ac:spMkLst>
            <pc:docMk/>
            <pc:sldMk cId="0" sldId="258"/>
            <ac:spMk id="293" creationId="{00000000-0000-0000-0000-000000000000}"/>
          </ac:spMkLst>
        </pc:spChg>
        <pc:spChg chg="mod">
          <ac:chgData name="Aniket Chhabra" userId="598e0514-bef3-4e71-b6aa-f2edd6441cff" providerId="ADAL" clId="{3ACAA428-FEF0-4514-AF29-92C470E4ABE5}" dt="2021-06-26T03:07:13.164" v="2879" actId="1076"/>
          <ac:spMkLst>
            <pc:docMk/>
            <pc:sldMk cId="0" sldId="258"/>
            <ac:spMk id="295" creationId="{00000000-0000-0000-0000-000000000000}"/>
          </ac:spMkLst>
        </pc:spChg>
        <pc:spChg chg="mod">
          <ac:chgData name="Aniket Chhabra" userId="598e0514-bef3-4e71-b6aa-f2edd6441cff" providerId="ADAL" clId="{3ACAA428-FEF0-4514-AF29-92C470E4ABE5}" dt="2021-06-25T15:01:11.417" v="297" actId="1076"/>
          <ac:spMkLst>
            <pc:docMk/>
            <pc:sldMk cId="0" sldId="258"/>
            <ac:spMk id="296" creationId="{00000000-0000-0000-0000-000000000000}"/>
          </ac:spMkLst>
        </pc:spChg>
        <pc:spChg chg="mod">
          <ac:chgData name="Aniket Chhabra" userId="598e0514-bef3-4e71-b6aa-f2edd6441cff" providerId="ADAL" clId="{3ACAA428-FEF0-4514-AF29-92C470E4ABE5}" dt="2021-06-25T15:00:59.464" v="291" actId="113"/>
          <ac:spMkLst>
            <pc:docMk/>
            <pc:sldMk cId="0" sldId="258"/>
            <ac:spMk id="297" creationId="{00000000-0000-0000-0000-000000000000}"/>
          </ac:spMkLst>
        </pc:spChg>
        <pc:spChg chg="mod">
          <ac:chgData name="Aniket Chhabra" userId="598e0514-bef3-4e71-b6aa-f2edd6441cff" providerId="ADAL" clId="{3ACAA428-FEF0-4514-AF29-92C470E4ABE5}" dt="2021-06-26T03:07:18.855" v="2887" actId="1035"/>
          <ac:spMkLst>
            <pc:docMk/>
            <pc:sldMk cId="0" sldId="258"/>
            <ac:spMk id="298" creationId="{00000000-0000-0000-0000-000000000000}"/>
          </ac:spMkLst>
        </pc:spChg>
        <pc:grpChg chg="mod">
          <ac:chgData name="Aniket Chhabra" userId="598e0514-bef3-4e71-b6aa-f2edd6441cff" providerId="ADAL" clId="{3ACAA428-FEF0-4514-AF29-92C470E4ABE5}" dt="2021-06-25T15:01:14.250" v="299" actId="1076"/>
          <ac:grpSpMkLst>
            <pc:docMk/>
            <pc:sldMk cId="0" sldId="258"/>
            <ac:grpSpMk id="7" creationId="{06709B7F-88C8-48D8-90C6-532ECD27A88C}"/>
          </ac:grpSpMkLst>
        </pc:grpChg>
      </pc:sldChg>
      <pc:sldChg chg="modSp mod">
        <pc:chgData name="Aniket Chhabra" userId="598e0514-bef3-4e71-b6aa-f2edd6441cff" providerId="ADAL" clId="{3ACAA428-FEF0-4514-AF29-92C470E4ABE5}" dt="2021-06-26T02:36:00.172" v="2823" actId="14100"/>
        <pc:sldMkLst>
          <pc:docMk/>
          <pc:sldMk cId="2232932630" sldId="284"/>
        </pc:sldMkLst>
        <pc:spChg chg="mod">
          <ac:chgData name="Aniket Chhabra" userId="598e0514-bef3-4e71-b6aa-f2edd6441cff" providerId="ADAL" clId="{3ACAA428-FEF0-4514-AF29-92C470E4ABE5}" dt="2021-06-26T02:36:00.172" v="2823" actId="14100"/>
          <ac:spMkLst>
            <pc:docMk/>
            <pc:sldMk cId="2232932630" sldId="284"/>
            <ac:spMk id="8" creationId="{9C270430-FB37-419B-A00E-56A103DFFC6E}"/>
          </ac:spMkLst>
        </pc:spChg>
        <pc:spChg chg="mod">
          <ac:chgData name="Aniket Chhabra" userId="598e0514-bef3-4e71-b6aa-f2edd6441cff" providerId="ADAL" clId="{3ACAA428-FEF0-4514-AF29-92C470E4ABE5}" dt="2021-06-25T18:55:04.342" v="2654" actId="1076"/>
          <ac:spMkLst>
            <pc:docMk/>
            <pc:sldMk cId="2232932630" sldId="284"/>
            <ac:spMk id="9" creationId="{CC3B56C1-4C4D-46BD-A080-B18E512C3AA4}"/>
          </ac:spMkLst>
        </pc:spChg>
        <pc:graphicFrameChg chg="mod">
          <ac:chgData name="Aniket Chhabra" userId="598e0514-bef3-4e71-b6aa-f2edd6441cff" providerId="ADAL" clId="{3ACAA428-FEF0-4514-AF29-92C470E4ABE5}" dt="2021-06-25T12:03:44.782" v="3"/>
          <ac:graphicFrameMkLst>
            <pc:docMk/>
            <pc:sldMk cId="2232932630" sldId="284"/>
            <ac:graphicFrameMk id="2" creationId="{5B82FCD9-9CF2-4596-B7F0-B7DA49EDB465}"/>
          </ac:graphicFrameMkLst>
        </pc:graphicFrameChg>
        <pc:cxnChg chg="mod">
          <ac:chgData name="Aniket Chhabra" userId="598e0514-bef3-4e71-b6aa-f2edd6441cff" providerId="ADAL" clId="{3ACAA428-FEF0-4514-AF29-92C470E4ABE5}" dt="2021-06-25T18:54:52.503" v="2652" actId="1038"/>
          <ac:cxnSpMkLst>
            <pc:docMk/>
            <pc:sldMk cId="2232932630" sldId="284"/>
            <ac:cxnSpMk id="6" creationId="{EBA3ABE0-FEA6-419E-B44B-382221E5090C}"/>
          </ac:cxnSpMkLst>
        </pc:cxnChg>
      </pc:sldChg>
      <pc:sldChg chg="addSp delSp modSp mod">
        <pc:chgData name="Aniket Chhabra" userId="598e0514-bef3-4e71-b6aa-f2edd6441cff" providerId="ADAL" clId="{3ACAA428-FEF0-4514-AF29-92C470E4ABE5}" dt="2021-06-26T09:03:39.949" v="3089" actId="403"/>
        <pc:sldMkLst>
          <pc:docMk/>
          <pc:sldMk cId="3728425968" sldId="285"/>
        </pc:sldMkLst>
        <pc:spChg chg="mod">
          <ac:chgData name="Aniket Chhabra" userId="598e0514-bef3-4e71-b6aa-f2edd6441cff" providerId="ADAL" clId="{3ACAA428-FEF0-4514-AF29-92C470E4ABE5}" dt="2021-06-26T08:48:35.595" v="3021"/>
          <ac:spMkLst>
            <pc:docMk/>
            <pc:sldMk cId="3728425968" sldId="285"/>
            <ac:spMk id="7" creationId="{A0F3B664-3AD1-4453-9429-5C22F327C9C4}"/>
          </ac:spMkLst>
        </pc:spChg>
        <pc:spChg chg="add del mod">
          <ac:chgData name="Aniket Chhabra" userId="598e0514-bef3-4e71-b6aa-f2edd6441cff" providerId="ADAL" clId="{3ACAA428-FEF0-4514-AF29-92C470E4ABE5}" dt="2021-06-26T08:48:36.627" v="3022"/>
          <ac:spMkLst>
            <pc:docMk/>
            <pc:sldMk cId="3728425968" sldId="285"/>
            <ac:spMk id="9" creationId="{95D1D096-31CA-421B-BF34-5919A6B278DF}"/>
          </ac:spMkLst>
        </pc:spChg>
        <pc:spChg chg="add del mod">
          <ac:chgData name="Aniket Chhabra" userId="598e0514-bef3-4e71-b6aa-f2edd6441cff" providerId="ADAL" clId="{3ACAA428-FEF0-4514-AF29-92C470E4ABE5}" dt="2021-06-26T08:48:36.627" v="3022"/>
          <ac:spMkLst>
            <pc:docMk/>
            <pc:sldMk cId="3728425968" sldId="285"/>
            <ac:spMk id="10" creationId="{C398D340-5851-4B5F-82FA-541318B2E1C8}"/>
          </ac:spMkLst>
        </pc:spChg>
        <pc:spChg chg="add del mod">
          <ac:chgData name="Aniket Chhabra" userId="598e0514-bef3-4e71-b6aa-f2edd6441cff" providerId="ADAL" clId="{3ACAA428-FEF0-4514-AF29-92C470E4ABE5}" dt="2021-06-26T08:48:36.627" v="3022"/>
          <ac:spMkLst>
            <pc:docMk/>
            <pc:sldMk cId="3728425968" sldId="285"/>
            <ac:spMk id="11" creationId="{4FC42450-0119-4925-9BAC-5F2A61E2F273}"/>
          </ac:spMkLst>
        </pc:spChg>
        <pc:spChg chg="add del mod">
          <ac:chgData name="Aniket Chhabra" userId="598e0514-bef3-4e71-b6aa-f2edd6441cff" providerId="ADAL" clId="{3ACAA428-FEF0-4514-AF29-92C470E4ABE5}" dt="2021-06-26T08:48:36.627" v="3022"/>
          <ac:spMkLst>
            <pc:docMk/>
            <pc:sldMk cId="3728425968" sldId="285"/>
            <ac:spMk id="12" creationId="{43227845-C52C-403E-9274-D8ED5AE43A7A}"/>
          </ac:spMkLst>
        </pc:spChg>
        <pc:spChg chg="mod">
          <ac:chgData name="Aniket Chhabra" userId="598e0514-bef3-4e71-b6aa-f2edd6441cff" providerId="ADAL" clId="{3ACAA428-FEF0-4514-AF29-92C470E4ABE5}" dt="2021-06-26T09:03:39.949" v="3089" actId="403"/>
          <ac:spMkLst>
            <pc:docMk/>
            <pc:sldMk cId="3728425968" sldId="285"/>
            <ac:spMk id="13" creationId="{19395FA0-9498-4C5A-BC88-51CB36CF6F63}"/>
          </ac:spMkLst>
        </pc:spChg>
        <pc:spChg chg="mod">
          <ac:chgData name="Aniket Chhabra" userId="598e0514-bef3-4e71-b6aa-f2edd6441cff" providerId="ADAL" clId="{3ACAA428-FEF0-4514-AF29-92C470E4ABE5}" dt="2021-06-26T08:48:35.595" v="3021"/>
          <ac:spMkLst>
            <pc:docMk/>
            <pc:sldMk cId="3728425968" sldId="285"/>
            <ac:spMk id="15" creationId="{18B3AECF-4F2A-4B1C-B668-5805F602656F}"/>
          </ac:spMkLst>
        </pc:spChg>
        <pc:spChg chg="mod">
          <ac:chgData name="Aniket Chhabra" userId="598e0514-bef3-4e71-b6aa-f2edd6441cff" providerId="ADAL" clId="{3ACAA428-FEF0-4514-AF29-92C470E4ABE5}" dt="2021-06-26T08:48:35.595" v="3021"/>
          <ac:spMkLst>
            <pc:docMk/>
            <pc:sldMk cId="3728425968" sldId="285"/>
            <ac:spMk id="18" creationId="{E8733E88-B0C5-4D5D-A9DF-D7A8D6B05F07}"/>
          </ac:spMkLst>
        </pc:spChg>
        <pc:spChg chg="mod">
          <ac:chgData name="Aniket Chhabra" userId="598e0514-bef3-4e71-b6aa-f2edd6441cff" providerId="ADAL" clId="{3ACAA428-FEF0-4514-AF29-92C470E4ABE5}" dt="2021-06-26T08:48:35.595" v="3021"/>
          <ac:spMkLst>
            <pc:docMk/>
            <pc:sldMk cId="3728425968" sldId="285"/>
            <ac:spMk id="21" creationId="{3111A7DF-EE5A-422D-9FFD-66489727A7F8}"/>
          </ac:spMkLst>
        </pc:spChg>
        <pc:grpChg chg="add del mod">
          <ac:chgData name="Aniket Chhabra" userId="598e0514-bef3-4e71-b6aa-f2edd6441cff" providerId="ADAL" clId="{3ACAA428-FEF0-4514-AF29-92C470E4ABE5}" dt="2021-06-26T08:48:36.627" v="3022"/>
          <ac:grpSpMkLst>
            <pc:docMk/>
            <pc:sldMk cId="3728425968" sldId="285"/>
            <ac:grpSpMk id="6" creationId="{197D6FAD-BAEB-4111-B0CB-D8344F2E6CC7}"/>
          </ac:grpSpMkLst>
        </pc:grpChg>
        <pc:grpChg chg="add del mod">
          <ac:chgData name="Aniket Chhabra" userId="598e0514-bef3-4e71-b6aa-f2edd6441cff" providerId="ADAL" clId="{3ACAA428-FEF0-4514-AF29-92C470E4ABE5}" dt="2021-06-26T08:48:36.627" v="3022"/>
          <ac:grpSpMkLst>
            <pc:docMk/>
            <pc:sldMk cId="3728425968" sldId="285"/>
            <ac:grpSpMk id="14" creationId="{8FF6A9C3-DDBB-43D4-8E88-EACF24A8277A}"/>
          </ac:grpSpMkLst>
        </pc:grpChg>
        <pc:grpChg chg="add del mod">
          <ac:chgData name="Aniket Chhabra" userId="598e0514-bef3-4e71-b6aa-f2edd6441cff" providerId="ADAL" clId="{3ACAA428-FEF0-4514-AF29-92C470E4ABE5}" dt="2021-06-26T08:48:36.627" v="3022"/>
          <ac:grpSpMkLst>
            <pc:docMk/>
            <pc:sldMk cId="3728425968" sldId="285"/>
            <ac:grpSpMk id="17" creationId="{7CEDDB0B-1D63-4F9D-9BAA-F3948BC64BAE}"/>
          </ac:grpSpMkLst>
        </pc:grpChg>
        <pc:grpChg chg="add del mod">
          <ac:chgData name="Aniket Chhabra" userId="598e0514-bef3-4e71-b6aa-f2edd6441cff" providerId="ADAL" clId="{3ACAA428-FEF0-4514-AF29-92C470E4ABE5}" dt="2021-06-26T08:48:36.627" v="3022"/>
          <ac:grpSpMkLst>
            <pc:docMk/>
            <pc:sldMk cId="3728425968" sldId="285"/>
            <ac:grpSpMk id="20" creationId="{D377741D-E2E8-4CF1-A38F-AF0B8FACFFFE}"/>
          </ac:grpSpMkLst>
        </pc:grpChg>
        <pc:graphicFrameChg chg="mod">
          <ac:chgData name="Aniket Chhabra" userId="598e0514-bef3-4e71-b6aa-f2edd6441cff" providerId="ADAL" clId="{3ACAA428-FEF0-4514-AF29-92C470E4ABE5}" dt="2021-06-25T12:03:44.784" v="5"/>
          <ac:graphicFrameMkLst>
            <pc:docMk/>
            <pc:sldMk cId="3728425968" sldId="285"/>
            <ac:graphicFrameMk id="2" creationId="{5B82FCD9-9CF2-4596-B7F0-B7DA49EDB465}"/>
          </ac:graphicFrameMkLst>
        </pc:graphicFrameChg>
        <pc:cxnChg chg="add del mod">
          <ac:chgData name="Aniket Chhabra" userId="598e0514-bef3-4e71-b6aa-f2edd6441cff" providerId="ADAL" clId="{3ACAA428-FEF0-4514-AF29-92C470E4ABE5}" dt="2021-06-26T08:48:36.627" v="3022"/>
          <ac:cxnSpMkLst>
            <pc:docMk/>
            <pc:sldMk cId="3728425968" sldId="285"/>
            <ac:cxnSpMk id="5" creationId="{FF9053E9-EB0D-40E0-86FB-7E6ECB8E282F}"/>
          </ac:cxnSpMkLst>
        </pc:cxnChg>
        <pc:cxnChg chg="mod">
          <ac:chgData name="Aniket Chhabra" userId="598e0514-bef3-4e71-b6aa-f2edd6441cff" providerId="ADAL" clId="{3ACAA428-FEF0-4514-AF29-92C470E4ABE5}" dt="2021-06-26T08:48:35.595" v="3021"/>
          <ac:cxnSpMkLst>
            <pc:docMk/>
            <pc:sldMk cId="3728425968" sldId="285"/>
            <ac:cxnSpMk id="8" creationId="{B8F38E22-6894-4F37-91E6-F129F13A4507}"/>
          </ac:cxnSpMkLst>
        </pc:cxnChg>
        <pc:cxnChg chg="mod">
          <ac:chgData name="Aniket Chhabra" userId="598e0514-bef3-4e71-b6aa-f2edd6441cff" providerId="ADAL" clId="{3ACAA428-FEF0-4514-AF29-92C470E4ABE5}" dt="2021-06-26T08:48:35.595" v="3021"/>
          <ac:cxnSpMkLst>
            <pc:docMk/>
            <pc:sldMk cId="3728425968" sldId="285"/>
            <ac:cxnSpMk id="16" creationId="{17D0D2B5-BC91-4E9A-9898-981B992A8D51}"/>
          </ac:cxnSpMkLst>
        </pc:cxnChg>
        <pc:cxnChg chg="mod">
          <ac:chgData name="Aniket Chhabra" userId="598e0514-bef3-4e71-b6aa-f2edd6441cff" providerId="ADAL" clId="{3ACAA428-FEF0-4514-AF29-92C470E4ABE5}" dt="2021-06-26T08:48:35.595" v="3021"/>
          <ac:cxnSpMkLst>
            <pc:docMk/>
            <pc:sldMk cId="3728425968" sldId="285"/>
            <ac:cxnSpMk id="19" creationId="{EB91F98D-07DF-4113-B6F1-CEDBCD8A084F}"/>
          </ac:cxnSpMkLst>
        </pc:cxnChg>
        <pc:cxnChg chg="mod">
          <ac:chgData name="Aniket Chhabra" userId="598e0514-bef3-4e71-b6aa-f2edd6441cff" providerId="ADAL" clId="{3ACAA428-FEF0-4514-AF29-92C470E4ABE5}" dt="2021-06-26T08:48:35.595" v="3021"/>
          <ac:cxnSpMkLst>
            <pc:docMk/>
            <pc:sldMk cId="3728425968" sldId="285"/>
            <ac:cxnSpMk id="22" creationId="{023D7ED5-B91E-4CC2-8C84-938F3B2529D6}"/>
          </ac:cxnSpMkLst>
        </pc:cxnChg>
      </pc:sldChg>
      <pc:sldChg chg="addSp delSp modSp mod">
        <pc:chgData name="Aniket Chhabra" userId="598e0514-bef3-4e71-b6aa-f2edd6441cff" providerId="ADAL" clId="{3ACAA428-FEF0-4514-AF29-92C470E4ABE5}" dt="2021-06-26T09:16:58.525" v="3122" actId="14100"/>
        <pc:sldMkLst>
          <pc:docMk/>
          <pc:sldMk cId="2153356261" sldId="286"/>
        </pc:sldMkLst>
        <pc:spChg chg="add mod">
          <ac:chgData name="Aniket Chhabra" userId="598e0514-bef3-4e71-b6aa-f2edd6441cff" providerId="ADAL" clId="{3ACAA428-FEF0-4514-AF29-92C470E4ABE5}" dt="2021-06-26T08:59:50.985" v="3064" actId="164"/>
          <ac:spMkLst>
            <pc:docMk/>
            <pc:sldMk cId="2153356261" sldId="286"/>
            <ac:spMk id="6" creationId="{8F749A13-B0CC-4E00-AB26-516ED1F95897}"/>
          </ac:spMkLst>
        </pc:spChg>
        <pc:spChg chg="add del mod">
          <ac:chgData name="Aniket Chhabra" userId="598e0514-bef3-4e71-b6aa-f2edd6441cff" providerId="ADAL" clId="{3ACAA428-FEF0-4514-AF29-92C470E4ABE5}" dt="2021-06-26T09:16:46.002" v="3117" actId="20577"/>
          <ac:spMkLst>
            <pc:docMk/>
            <pc:sldMk cId="2153356261" sldId="286"/>
            <ac:spMk id="9" creationId="{00DEB2E1-C7E8-4428-8D34-7A34DD462FB0}"/>
          </ac:spMkLst>
        </pc:spChg>
        <pc:spChg chg="mod">
          <ac:chgData name="Aniket Chhabra" userId="598e0514-bef3-4e71-b6aa-f2edd6441cff" providerId="ADAL" clId="{3ACAA428-FEF0-4514-AF29-92C470E4ABE5}" dt="2021-06-26T09:16:30.657" v="3109" actId="20577"/>
          <ac:spMkLst>
            <pc:docMk/>
            <pc:sldMk cId="2153356261" sldId="286"/>
            <ac:spMk id="283" creationId="{00000000-0000-0000-0000-000000000000}"/>
          </ac:spMkLst>
        </pc:spChg>
        <pc:grpChg chg="add del mod">
          <ac:chgData name="Aniket Chhabra" userId="598e0514-bef3-4e71-b6aa-f2edd6441cff" providerId="ADAL" clId="{3ACAA428-FEF0-4514-AF29-92C470E4ABE5}" dt="2021-06-26T09:13:58.643" v="3090" actId="478"/>
          <ac:grpSpMkLst>
            <pc:docMk/>
            <pc:sldMk cId="2153356261" sldId="286"/>
            <ac:grpSpMk id="7" creationId="{E2E21C3E-28D3-4B2F-A2C5-DDFDECB30EFE}"/>
          </ac:grpSpMkLst>
        </pc:grpChg>
        <pc:graphicFrameChg chg="mod">
          <ac:chgData name="Aniket Chhabra" userId="598e0514-bef3-4e71-b6aa-f2edd6441cff" providerId="ADAL" clId="{3ACAA428-FEF0-4514-AF29-92C470E4ABE5}" dt="2021-06-26T09:16:31.165" v="3111"/>
          <ac:graphicFrameMkLst>
            <pc:docMk/>
            <pc:sldMk cId="2153356261" sldId="286"/>
            <ac:graphicFrameMk id="2" creationId="{5B82FCD9-9CF2-4596-B7F0-B7DA49EDB465}"/>
          </ac:graphicFrameMkLst>
        </pc:graphicFrameChg>
        <pc:picChg chg="del mod">
          <ac:chgData name="Aniket Chhabra" userId="598e0514-bef3-4e71-b6aa-f2edd6441cff" providerId="ADAL" clId="{3ACAA428-FEF0-4514-AF29-92C470E4ABE5}" dt="2021-06-26T08:59:05.285" v="3054" actId="478"/>
          <ac:picMkLst>
            <pc:docMk/>
            <pc:sldMk cId="2153356261" sldId="286"/>
            <ac:picMk id="4" creationId="{EED172D7-0E3F-4381-9B96-88AF26BA78E5}"/>
          </ac:picMkLst>
        </pc:picChg>
        <pc:picChg chg="add mod">
          <ac:chgData name="Aniket Chhabra" userId="598e0514-bef3-4e71-b6aa-f2edd6441cff" providerId="ADAL" clId="{3ACAA428-FEF0-4514-AF29-92C470E4ABE5}" dt="2021-06-26T08:59:50.985" v="3064" actId="164"/>
          <ac:picMkLst>
            <pc:docMk/>
            <pc:sldMk cId="2153356261" sldId="286"/>
            <ac:picMk id="5" creationId="{D0E88C8A-C2EE-4707-864D-18549CB4044C}"/>
          </ac:picMkLst>
        </pc:picChg>
        <pc:picChg chg="add mod">
          <ac:chgData name="Aniket Chhabra" userId="598e0514-bef3-4e71-b6aa-f2edd6441cff" providerId="ADAL" clId="{3ACAA428-FEF0-4514-AF29-92C470E4ABE5}" dt="2021-06-26T09:16:58.525" v="3122" actId="14100"/>
          <ac:picMkLst>
            <pc:docMk/>
            <pc:sldMk cId="2153356261" sldId="286"/>
            <ac:picMk id="10" creationId="{AC97BBE0-8904-4D54-8448-E26008954FE3}"/>
          </ac:picMkLst>
        </pc:picChg>
      </pc:sldChg>
      <pc:sldChg chg="modSp mod">
        <pc:chgData name="Aniket Chhabra" userId="598e0514-bef3-4e71-b6aa-f2edd6441cff" providerId="ADAL" clId="{3ACAA428-FEF0-4514-AF29-92C470E4ABE5}" dt="2021-06-26T09:16:51.963" v="3121"/>
        <pc:sldMkLst>
          <pc:docMk/>
          <pc:sldMk cId="3957364230" sldId="287"/>
        </pc:sldMkLst>
        <pc:spChg chg="mod">
          <ac:chgData name="Aniket Chhabra" userId="598e0514-bef3-4e71-b6aa-f2edd6441cff" providerId="ADAL" clId="{3ACAA428-FEF0-4514-AF29-92C470E4ABE5}" dt="2021-06-26T09:16:51.963" v="3121"/>
          <ac:spMkLst>
            <pc:docMk/>
            <pc:sldMk cId="3957364230" sldId="287"/>
            <ac:spMk id="7" creationId="{13DD9B67-4CAC-4F13-AAC1-9579F965CEA5}"/>
          </ac:spMkLst>
        </pc:spChg>
        <pc:spChg chg="mod">
          <ac:chgData name="Aniket Chhabra" userId="598e0514-bef3-4e71-b6aa-f2edd6441cff" providerId="ADAL" clId="{3ACAA428-FEF0-4514-AF29-92C470E4ABE5}" dt="2021-06-26T02:31:39.090" v="2686" actId="20577"/>
          <ac:spMkLst>
            <pc:docMk/>
            <pc:sldMk cId="3957364230" sldId="287"/>
            <ac:spMk id="283" creationId="{00000000-0000-0000-0000-000000000000}"/>
          </ac:spMkLst>
        </pc:spChg>
        <pc:graphicFrameChg chg="mod">
          <ac:chgData name="Aniket Chhabra" userId="598e0514-bef3-4e71-b6aa-f2edd6441cff" providerId="ADAL" clId="{3ACAA428-FEF0-4514-AF29-92C470E4ABE5}" dt="2021-06-26T02:31:39.594" v="2688"/>
          <ac:graphicFrameMkLst>
            <pc:docMk/>
            <pc:sldMk cId="3957364230" sldId="287"/>
            <ac:graphicFrameMk id="2" creationId="{5B82FCD9-9CF2-4596-B7F0-B7DA49EDB465}"/>
          </ac:graphicFrameMkLst>
        </pc:graphicFrameChg>
      </pc:sldChg>
      <pc:sldChg chg="addSp delSp modSp mod ord">
        <pc:chgData name="Aniket Chhabra" userId="598e0514-bef3-4e71-b6aa-f2edd6441cff" providerId="ADAL" clId="{3ACAA428-FEF0-4514-AF29-92C470E4ABE5}" dt="2021-06-26T03:16:10.502" v="2912" actId="20577"/>
        <pc:sldMkLst>
          <pc:docMk/>
          <pc:sldMk cId="3438322956" sldId="289"/>
        </pc:sldMkLst>
        <pc:spChg chg="add mod">
          <ac:chgData name="Aniket Chhabra" userId="598e0514-bef3-4e71-b6aa-f2edd6441cff" providerId="ADAL" clId="{3ACAA428-FEF0-4514-AF29-92C470E4ABE5}" dt="2021-06-25T14:50:25.040" v="60" actId="207"/>
          <ac:spMkLst>
            <pc:docMk/>
            <pc:sldMk cId="3438322956" sldId="289"/>
            <ac:spMk id="3" creationId="{E2BF7653-3CBE-4E75-8FB4-2100B6889523}"/>
          </ac:spMkLst>
        </pc:spChg>
        <pc:spChg chg="mod">
          <ac:chgData name="Aniket Chhabra" userId="598e0514-bef3-4e71-b6aa-f2edd6441cff" providerId="ADAL" clId="{3ACAA428-FEF0-4514-AF29-92C470E4ABE5}" dt="2021-06-25T18:29:05.638" v="1916" actId="20577"/>
          <ac:spMkLst>
            <pc:docMk/>
            <pc:sldMk cId="3438322956" sldId="289"/>
            <ac:spMk id="8" creationId="{5BC828C7-A50B-4B88-BA9A-D6E8DF31448A}"/>
          </ac:spMkLst>
        </pc:spChg>
        <pc:spChg chg="add mod">
          <ac:chgData name="Aniket Chhabra" userId="598e0514-bef3-4e71-b6aa-f2edd6441cff" providerId="ADAL" clId="{3ACAA428-FEF0-4514-AF29-92C470E4ABE5}" dt="2021-06-25T18:24:48.269" v="1722" actId="1035"/>
          <ac:spMkLst>
            <pc:docMk/>
            <pc:sldMk cId="3438322956" sldId="289"/>
            <ac:spMk id="9" creationId="{8D9AD09C-7EB0-409B-91B6-6D607DBE67E9}"/>
          </ac:spMkLst>
        </pc:spChg>
        <pc:spChg chg="add mod">
          <ac:chgData name="Aniket Chhabra" userId="598e0514-bef3-4e71-b6aa-f2edd6441cff" providerId="ADAL" clId="{3ACAA428-FEF0-4514-AF29-92C470E4ABE5}" dt="2021-06-25T18:24:48.269" v="1722" actId="1035"/>
          <ac:spMkLst>
            <pc:docMk/>
            <pc:sldMk cId="3438322956" sldId="289"/>
            <ac:spMk id="10" creationId="{7CF5E752-A209-4F70-886E-46992EE364A6}"/>
          </ac:spMkLst>
        </pc:spChg>
        <pc:spChg chg="add mod">
          <ac:chgData name="Aniket Chhabra" userId="598e0514-bef3-4e71-b6aa-f2edd6441cff" providerId="ADAL" clId="{3ACAA428-FEF0-4514-AF29-92C470E4ABE5}" dt="2021-06-25T18:27:53.702" v="1876" actId="207"/>
          <ac:spMkLst>
            <pc:docMk/>
            <pc:sldMk cId="3438322956" sldId="289"/>
            <ac:spMk id="11" creationId="{F2EB64A7-6B09-43FE-B6B8-1D76BC6A8BA1}"/>
          </ac:spMkLst>
        </pc:spChg>
        <pc:spChg chg="add mod">
          <ac:chgData name="Aniket Chhabra" userId="598e0514-bef3-4e71-b6aa-f2edd6441cff" providerId="ADAL" clId="{3ACAA428-FEF0-4514-AF29-92C470E4ABE5}" dt="2021-06-25T18:24:48.269" v="1722" actId="1035"/>
          <ac:spMkLst>
            <pc:docMk/>
            <pc:sldMk cId="3438322956" sldId="289"/>
            <ac:spMk id="12" creationId="{774F37E2-CBB0-44E3-A30C-14538BFC1366}"/>
          </ac:spMkLst>
        </pc:spChg>
        <pc:spChg chg="add mod">
          <ac:chgData name="Aniket Chhabra" userId="598e0514-bef3-4e71-b6aa-f2edd6441cff" providerId="ADAL" clId="{3ACAA428-FEF0-4514-AF29-92C470E4ABE5}" dt="2021-06-25T18:28:08.402" v="1878" actId="1076"/>
          <ac:spMkLst>
            <pc:docMk/>
            <pc:sldMk cId="3438322956" sldId="289"/>
            <ac:spMk id="13" creationId="{849F70BC-F821-4FC4-BC71-AE52B21395C1}"/>
          </ac:spMkLst>
        </pc:spChg>
        <pc:spChg chg="add mod">
          <ac:chgData name="Aniket Chhabra" userId="598e0514-bef3-4e71-b6aa-f2edd6441cff" providerId="ADAL" clId="{3ACAA428-FEF0-4514-AF29-92C470E4ABE5}" dt="2021-06-25T18:24:48.269" v="1722" actId="1035"/>
          <ac:spMkLst>
            <pc:docMk/>
            <pc:sldMk cId="3438322956" sldId="289"/>
            <ac:spMk id="14" creationId="{376B7EC0-FB17-43A6-AA34-8042E4419967}"/>
          </ac:spMkLst>
        </pc:spChg>
        <pc:spChg chg="add mod">
          <ac:chgData name="Aniket Chhabra" userId="598e0514-bef3-4e71-b6aa-f2edd6441cff" providerId="ADAL" clId="{3ACAA428-FEF0-4514-AF29-92C470E4ABE5}" dt="2021-06-25T18:25:44.417" v="1771" actId="1076"/>
          <ac:spMkLst>
            <pc:docMk/>
            <pc:sldMk cId="3438322956" sldId="289"/>
            <ac:spMk id="15" creationId="{182F6039-4E8A-414B-B0CC-4474324EDA9F}"/>
          </ac:spMkLst>
        </pc:spChg>
        <pc:spChg chg="add mod">
          <ac:chgData name="Aniket Chhabra" userId="598e0514-bef3-4e71-b6aa-f2edd6441cff" providerId="ADAL" clId="{3ACAA428-FEF0-4514-AF29-92C470E4ABE5}" dt="2021-06-25T18:24:48.269" v="1722" actId="1035"/>
          <ac:spMkLst>
            <pc:docMk/>
            <pc:sldMk cId="3438322956" sldId="289"/>
            <ac:spMk id="16" creationId="{BB4B1269-8FCE-4141-AAEF-FF41FB0EA5E2}"/>
          </ac:spMkLst>
        </pc:spChg>
        <pc:spChg chg="add mod">
          <ac:chgData name="Aniket Chhabra" userId="598e0514-bef3-4e71-b6aa-f2edd6441cff" providerId="ADAL" clId="{3ACAA428-FEF0-4514-AF29-92C470E4ABE5}" dt="2021-06-25T18:28:21.978" v="1880" actId="108"/>
          <ac:spMkLst>
            <pc:docMk/>
            <pc:sldMk cId="3438322956" sldId="289"/>
            <ac:spMk id="17" creationId="{0A844D59-90D4-466F-A718-48D218C62BBF}"/>
          </ac:spMkLst>
        </pc:spChg>
        <pc:spChg chg="add mod">
          <ac:chgData name="Aniket Chhabra" userId="598e0514-bef3-4e71-b6aa-f2edd6441cff" providerId="ADAL" clId="{3ACAA428-FEF0-4514-AF29-92C470E4ABE5}" dt="2021-06-25T18:24:48.269" v="1722" actId="1035"/>
          <ac:spMkLst>
            <pc:docMk/>
            <pc:sldMk cId="3438322956" sldId="289"/>
            <ac:spMk id="18" creationId="{041C4B16-E578-4711-A213-7AEA662CAEE8}"/>
          </ac:spMkLst>
        </pc:spChg>
        <pc:spChg chg="add del mod">
          <ac:chgData name="Aniket Chhabra" userId="598e0514-bef3-4e71-b6aa-f2edd6441cff" providerId="ADAL" clId="{3ACAA428-FEF0-4514-AF29-92C470E4ABE5}" dt="2021-06-25T15:02:16.160" v="346" actId="478"/>
          <ac:spMkLst>
            <pc:docMk/>
            <pc:sldMk cId="3438322956" sldId="289"/>
            <ac:spMk id="19" creationId="{E859B20A-9C2A-41E1-800C-04039CF4872F}"/>
          </ac:spMkLst>
        </pc:spChg>
        <pc:spChg chg="mod">
          <ac:chgData name="Aniket Chhabra" userId="598e0514-bef3-4e71-b6aa-f2edd6441cff" providerId="ADAL" clId="{3ACAA428-FEF0-4514-AF29-92C470E4ABE5}" dt="2021-06-25T15:02:09.082" v="344"/>
          <ac:spMkLst>
            <pc:docMk/>
            <pc:sldMk cId="3438322956" sldId="289"/>
            <ac:spMk id="21" creationId="{C5151375-3FFE-41FA-ABA7-19AC13247042}"/>
          </ac:spMkLst>
        </pc:spChg>
        <pc:spChg chg="mod">
          <ac:chgData name="Aniket Chhabra" userId="598e0514-bef3-4e71-b6aa-f2edd6441cff" providerId="ADAL" clId="{3ACAA428-FEF0-4514-AF29-92C470E4ABE5}" dt="2021-06-25T15:02:09.082" v="344"/>
          <ac:spMkLst>
            <pc:docMk/>
            <pc:sldMk cId="3438322956" sldId="289"/>
            <ac:spMk id="22" creationId="{86B14823-CB3F-4C23-80DD-1E2F6F1DC564}"/>
          </ac:spMkLst>
        </pc:spChg>
        <pc:spChg chg="mod">
          <ac:chgData name="Aniket Chhabra" userId="598e0514-bef3-4e71-b6aa-f2edd6441cff" providerId="ADAL" clId="{3ACAA428-FEF0-4514-AF29-92C470E4ABE5}" dt="2021-06-25T15:02:09.082" v="344"/>
          <ac:spMkLst>
            <pc:docMk/>
            <pc:sldMk cId="3438322956" sldId="289"/>
            <ac:spMk id="24" creationId="{0CB169A8-D4A0-4F41-BCCE-C7494463739D}"/>
          </ac:spMkLst>
        </pc:spChg>
        <pc:spChg chg="mod">
          <ac:chgData name="Aniket Chhabra" userId="598e0514-bef3-4e71-b6aa-f2edd6441cff" providerId="ADAL" clId="{3ACAA428-FEF0-4514-AF29-92C470E4ABE5}" dt="2021-06-25T15:02:09.082" v="344"/>
          <ac:spMkLst>
            <pc:docMk/>
            <pc:sldMk cId="3438322956" sldId="289"/>
            <ac:spMk id="25" creationId="{57991250-62A4-47AE-AA72-38756969826B}"/>
          </ac:spMkLst>
        </pc:spChg>
        <pc:spChg chg="del mod topLvl">
          <ac:chgData name="Aniket Chhabra" userId="598e0514-bef3-4e71-b6aa-f2edd6441cff" providerId="ADAL" clId="{3ACAA428-FEF0-4514-AF29-92C470E4ABE5}" dt="2021-06-25T18:13:59.993" v="1003" actId="478"/>
          <ac:spMkLst>
            <pc:docMk/>
            <pc:sldMk cId="3438322956" sldId="289"/>
            <ac:spMk id="27" creationId="{B71228FB-093B-40E3-8D4E-84DE44977DCA}"/>
          </ac:spMkLst>
        </pc:spChg>
        <pc:spChg chg="del mod topLvl">
          <ac:chgData name="Aniket Chhabra" userId="598e0514-bef3-4e71-b6aa-f2edd6441cff" providerId="ADAL" clId="{3ACAA428-FEF0-4514-AF29-92C470E4ABE5}" dt="2021-06-25T18:14:03.213" v="1005" actId="478"/>
          <ac:spMkLst>
            <pc:docMk/>
            <pc:sldMk cId="3438322956" sldId="289"/>
            <ac:spMk id="28" creationId="{DA2E5DE4-CD8E-4556-B39A-E44BD52F51DE}"/>
          </ac:spMkLst>
        </pc:spChg>
        <pc:spChg chg="mod">
          <ac:chgData name="Aniket Chhabra" userId="598e0514-bef3-4e71-b6aa-f2edd6441cff" providerId="ADAL" clId="{3ACAA428-FEF0-4514-AF29-92C470E4ABE5}" dt="2021-06-25T15:02:09.082" v="344"/>
          <ac:spMkLst>
            <pc:docMk/>
            <pc:sldMk cId="3438322956" sldId="289"/>
            <ac:spMk id="30" creationId="{39B720B9-7AC2-4FE0-A248-CED4FB0D136F}"/>
          </ac:spMkLst>
        </pc:spChg>
        <pc:spChg chg="mod">
          <ac:chgData name="Aniket Chhabra" userId="598e0514-bef3-4e71-b6aa-f2edd6441cff" providerId="ADAL" clId="{3ACAA428-FEF0-4514-AF29-92C470E4ABE5}" dt="2021-06-25T15:02:09.082" v="344"/>
          <ac:spMkLst>
            <pc:docMk/>
            <pc:sldMk cId="3438322956" sldId="289"/>
            <ac:spMk id="31" creationId="{EEDC2F70-C6A8-470F-B666-D943B53FC954}"/>
          </ac:spMkLst>
        </pc:spChg>
        <pc:spChg chg="mod topLvl">
          <ac:chgData name="Aniket Chhabra" userId="598e0514-bef3-4e71-b6aa-f2edd6441cff" providerId="ADAL" clId="{3ACAA428-FEF0-4514-AF29-92C470E4ABE5}" dt="2021-06-26T03:16:10.502" v="2912" actId="20577"/>
          <ac:spMkLst>
            <pc:docMk/>
            <pc:sldMk cId="3438322956" sldId="289"/>
            <ac:spMk id="33" creationId="{437AB607-2A8C-43EB-98A5-A6B2BDEEFC75}"/>
          </ac:spMkLst>
        </pc:spChg>
        <pc:spChg chg="del mod topLvl">
          <ac:chgData name="Aniket Chhabra" userId="598e0514-bef3-4e71-b6aa-f2edd6441cff" providerId="ADAL" clId="{3ACAA428-FEF0-4514-AF29-92C470E4ABE5}" dt="2021-06-25T18:11:33.196" v="888" actId="478"/>
          <ac:spMkLst>
            <pc:docMk/>
            <pc:sldMk cId="3438322956" sldId="289"/>
            <ac:spMk id="34" creationId="{5B31FAA4-34DD-4B33-95AE-30123E410136}"/>
          </ac:spMkLst>
        </pc:spChg>
        <pc:spChg chg="add mod">
          <ac:chgData name="Aniket Chhabra" userId="598e0514-bef3-4e71-b6aa-f2edd6441cff" providerId="ADAL" clId="{3ACAA428-FEF0-4514-AF29-92C470E4ABE5}" dt="2021-06-25T18:24:48.269" v="1722" actId="1035"/>
          <ac:spMkLst>
            <pc:docMk/>
            <pc:sldMk cId="3438322956" sldId="289"/>
            <ac:spMk id="35" creationId="{C0E94B3B-7E58-400F-87CA-4F5EC18C1C83}"/>
          </ac:spMkLst>
        </pc:spChg>
        <pc:spChg chg="add mod">
          <ac:chgData name="Aniket Chhabra" userId="598e0514-bef3-4e71-b6aa-f2edd6441cff" providerId="ADAL" clId="{3ACAA428-FEF0-4514-AF29-92C470E4ABE5}" dt="2021-06-25T18:27:58.285" v="1877" actId="207"/>
          <ac:spMkLst>
            <pc:docMk/>
            <pc:sldMk cId="3438322956" sldId="289"/>
            <ac:spMk id="36" creationId="{0A9841D7-7FA6-4C03-AA2C-8CBFA8BEB1C0}"/>
          </ac:spMkLst>
        </pc:spChg>
        <pc:spChg chg="add mod">
          <ac:chgData name="Aniket Chhabra" userId="598e0514-bef3-4e71-b6aa-f2edd6441cff" providerId="ADAL" clId="{3ACAA428-FEF0-4514-AF29-92C470E4ABE5}" dt="2021-06-25T18:28:36.037" v="1883" actId="1076"/>
          <ac:spMkLst>
            <pc:docMk/>
            <pc:sldMk cId="3438322956" sldId="289"/>
            <ac:spMk id="37" creationId="{615B84EC-418E-472E-BE0B-4D807DE864D6}"/>
          </ac:spMkLst>
        </pc:spChg>
        <pc:spChg chg="add mod">
          <ac:chgData name="Aniket Chhabra" userId="598e0514-bef3-4e71-b6aa-f2edd6441cff" providerId="ADAL" clId="{3ACAA428-FEF0-4514-AF29-92C470E4ABE5}" dt="2021-06-25T18:28:27.872" v="1882" actId="1076"/>
          <ac:spMkLst>
            <pc:docMk/>
            <pc:sldMk cId="3438322956" sldId="289"/>
            <ac:spMk id="38" creationId="{E8A94E4C-3518-4628-89C9-99FBF7997009}"/>
          </ac:spMkLst>
        </pc:spChg>
        <pc:spChg chg="add mod">
          <ac:chgData name="Aniket Chhabra" userId="598e0514-bef3-4e71-b6aa-f2edd6441cff" providerId="ADAL" clId="{3ACAA428-FEF0-4514-AF29-92C470E4ABE5}" dt="2021-06-25T18:27:42.213" v="1875" actId="571"/>
          <ac:spMkLst>
            <pc:docMk/>
            <pc:sldMk cId="3438322956" sldId="289"/>
            <ac:spMk id="39" creationId="{AC029FC5-CD85-4571-84A5-6B3958980B30}"/>
          </ac:spMkLst>
        </pc:spChg>
        <pc:spChg chg="add mod">
          <ac:chgData name="Aniket Chhabra" userId="598e0514-bef3-4e71-b6aa-f2edd6441cff" providerId="ADAL" clId="{3ACAA428-FEF0-4514-AF29-92C470E4ABE5}" dt="2021-06-25T18:27:42.213" v="1875" actId="571"/>
          <ac:spMkLst>
            <pc:docMk/>
            <pc:sldMk cId="3438322956" sldId="289"/>
            <ac:spMk id="40" creationId="{3C7FC1A3-E43A-484A-8E23-44415B17C7CB}"/>
          </ac:spMkLst>
        </pc:spChg>
        <pc:spChg chg="mod">
          <ac:chgData name="Aniket Chhabra" userId="598e0514-bef3-4e71-b6aa-f2edd6441cff" providerId="ADAL" clId="{3ACAA428-FEF0-4514-AF29-92C470E4ABE5}" dt="2021-06-25T18:25:04.553" v="1757" actId="1076"/>
          <ac:spMkLst>
            <pc:docMk/>
            <pc:sldMk cId="3438322956" sldId="289"/>
            <ac:spMk id="283" creationId="{00000000-0000-0000-0000-000000000000}"/>
          </ac:spMkLst>
        </pc:spChg>
        <pc:grpChg chg="add del mod">
          <ac:chgData name="Aniket Chhabra" userId="598e0514-bef3-4e71-b6aa-f2edd6441cff" providerId="ADAL" clId="{3ACAA428-FEF0-4514-AF29-92C470E4ABE5}" dt="2021-06-25T15:02:08.704" v="343" actId="478"/>
          <ac:grpSpMkLst>
            <pc:docMk/>
            <pc:sldMk cId="3438322956" sldId="289"/>
            <ac:grpSpMk id="4" creationId="{B35D6922-8328-4FD6-9ABD-957A437010F0}"/>
          </ac:grpSpMkLst>
        </pc:grpChg>
        <pc:grpChg chg="add del mod">
          <ac:chgData name="Aniket Chhabra" userId="598e0514-bef3-4e71-b6aa-f2edd6441cff" providerId="ADAL" clId="{3ACAA428-FEF0-4514-AF29-92C470E4ABE5}" dt="2021-06-25T18:15:15.566" v="1019" actId="478"/>
          <ac:grpSpMkLst>
            <pc:docMk/>
            <pc:sldMk cId="3438322956" sldId="289"/>
            <ac:grpSpMk id="20" creationId="{0E72B36C-7B1A-494E-969F-AAF4CEE7CFC0}"/>
          </ac:grpSpMkLst>
        </pc:grpChg>
        <pc:grpChg chg="add del mod">
          <ac:chgData name="Aniket Chhabra" userId="598e0514-bef3-4e71-b6aa-f2edd6441cff" providerId="ADAL" clId="{3ACAA428-FEF0-4514-AF29-92C470E4ABE5}" dt="2021-06-25T18:15:11.105" v="1018" actId="478"/>
          <ac:grpSpMkLst>
            <pc:docMk/>
            <pc:sldMk cId="3438322956" sldId="289"/>
            <ac:grpSpMk id="23" creationId="{A26D7884-F4D8-49BD-96DB-1C12EEF2DA44}"/>
          </ac:grpSpMkLst>
        </pc:grpChg>
        <pc:grpChg chg="add del mod">
          <ac:chgData name="Aniket Chhabra" userId="598e0514-bef3-4e71-b6aa-f2edd6441cff" providerId="ADAL" clId="{3ACAA428-FEF0-4514-AF29-92C470E4ABE5}" dt="2021-06-25T18:13:59.993" v="1003" actId="478"/>
          <ac:grpSpMkLst>
            <pc:docMk/>
            <pc:sldMk cId="3438322956" sldId="289"/>
            <ac:grpSpMk id="26" creationId="{6E7C9B5B-DC32-4B7B-9895-6D3776AE5808}"/>
          </ac:grpSpMkLst>
        </pc:grpChg>
        <pc:grpChg chg="add del mod">
          <ac:chgData name="Aniket Chhabra" userId="598e0514-bef3-4e71-b6aa-f2edd6441cff" providerId="ADAL" clId="{3ACAA428-FEF0-4514-AF29-92C470E4ABE5}" dt="2021-06-25T18:15:18.258" v="1020" actId="478"/>
          <ac:grpSpMkLst>
            <pc:docMk/>
            <pc:sldMk cId="3438322956" sldId="289"/>
            <ac:grpSpMk id="29" creationId="{76052A7B-03C5-4DB0-928B-D72EBA35F2A7}"/>
          </ac:grpSpMkLst>
        </pc:grpChg>
        <pc:grpChg chg="add del mod">
          <ac:chgData name="Aniket Chhabra" userId="598e0514-bef3-4e71-b6aa-f2edd6441cff" providerId="ADAL" clId="{3ACAA428-FEF0-4514-AF29-92C470E4ABE5}" dt="2021-06-25T18:11:33.196" v="888" actId="478"/>
          <ac:grpSpMkLst>
            <pc:docMk/>
            <pc:sldMk cId="3438322956" sldId="289"/>
            <ac:grpSpMk id="32" creationId="{480FF5E4-EA8D-4AD1-A333-287FB0032209}"/>
          </ac:grpSpMkLst>
        </pc:grpChg>
        <pc:graphicFrameChg chg="mod">
          <ac:chgData name="Aniket Chhabra" userId="598e0514-bef3-4e71-b6aa-f2edd6441cff" providerId="ADAL" clId="{3ACAA428-FEF0-4514-AF29-92C470E4ABE5}" dt="2021-06-25T18:25:04.771" v="1759"/>
          <ac:graphicFrameMkLst>
            <pc:docMk/>
            <pc:sldMk cId="3438322956" sldId="289"/>
            <ac:graphicFrameMk id="2" creationId="{31B3BF58-9D50-42DA-AB47-F79891CF17BA}"/>
          </ac:graphicFrameMkLst>
        </pc:graphicFrameChg>
        <pc:picChg chg="mod">
          <ac:chgData name="Aniket Chhabra" userId="598e0514-bef3-4e71-b6aa-f2edd6441cff" providerId="ADAL" clId="{3ACAA428-FEF0-4514-AF29-92C470E4ABE5}" dt="2021-06-25T14:49:51.310" v="54" actId="164"/>
          <ac:picMkLst>
            <pc:docMk/>
            <pc:sldMk cId="3438322956" sldId="289"/>
            <ac:picMk id="6" creationId="{C1F88E21-E809-483F-9256-8D512903354D}"/>
          </ac:picMkLst>
        </pc:picChg>
      </pc:sldChg>
      <pc:sldChg chg="addSp delSp modSp mod">
        <pc:chgData name="Aniket Chhabra" userId="598e0514-bef3-4e71-b6aa-f2edd6441cff" providerId="ADAL" clId="{3ACAA428-FEF0-4514-AF29-92C470E4ABE5}" dt="2021-06-25T14:59:41.943" v="285" actId="1035"/>
        <pc:sldMkLst>
          <pc:docMk/>
          <pc:sldMk cId="1525025075" sldId="290"/>
        </pc:sldMkLst>
        <pc:spChg chg="add mod">
          <ac:chgData name="Aniket Chhabra" userId="598e0514-bef3-4e71-b6aa-f2edd6441cff" providerId="ADAL" clId="{3ACAA428-FEF0-4514-AF29-92C470E4ABE5}" dt="2021-06-25T14:52:03.609" v="83" actId="164"/>
          <ac:spMkLst>
            <pc:docMk/>
            <pc:sldMk cId="1525025075" sldId="290"/>
            <ac:spMk id="4" creationId="{3D6BC1FF-BDA7-4DA3-B51A-65E51E099DC3}"/>
          </ac:spMkLst>
        </pc:spChg>
        <pc:spChg chg="add del">
          <ac:chgData name="Aniket Chhabra" userId="598e0514-bef3-4e71-b6aa-f2edd6441cff" providerId="ADAL" clId="{3ACAA428-FEF0-4514-AF29-92C470E4ABE5}" dt="2021-06-25T14:50:36.791" v="63" actId="22"/>
          <ac:spMkLst>
            <pc:docMk/>
            <pc:sldMk cId="1525025075" sldId="290"/>
            <ac:spMk id="7" creationId="{C572A382-33BB-4E87-B577-1F39F71755E8}"/>
          </ac:spMkLst>
        </pc:spChg>
        <pc:spChg chg="mod">
          <ac:chgData name="Aniket Chhabra" userId="598e0514-bef3-4e71-b6aa-f2edd6441cff" providerId="ADAL" clId="{3ACAA428-FEF0-4514-AF29-92C470E4ABE5}" dt="2021-06-25T14:59:41.943" v="285" actId="1035"/>
          <ac:spMkLst>
            <pc:docMk/>
            <pc:sldMk cId="1525025075" sldId="290"/>
            <ac:spMk id="8" creationId="{5BC828C7-A50B-4B88-BA9A-D6E8DF31448A}"/>
          </ac:spMkLst>
        </pc:spChg>
        <pc:spChg chg="mod">
          <ac:chgData name="Aniket Chhabra" userId="598e0514-bef3-4e71-b6aa-f2edd6441cff" providerId="ADAL" clId="{3ACAA428-FEF0-4514-AF29-92C470E4ABE5}" dt="2021-06-25T14:54:55.049" v="282" actId="27636"/>
          <ac:spMkLst>
            <pc:docMk/>
            <pc:sldMk cId="1525025075" sldId="290"/>
            <ac:spMk id="10" creationId="{4C32303D-4610-4152-92BE-759ABFAD924E}"/>
          </ac:spMkLst>
        </pc:spChg>
        <pc:spChg chg="add del mod">
          <ac:chgData name="Aniket Chhabra" userId="598e0514-bef3-4e71-b6aa-f2edd6441cff" providerId="ADAL" clId="{3ACAA428-FEF0-4514-AF29-92C470E4ABE5}" dt="2021-06-25T14:52:04.802" v="84" actId="478"/>
          <ac:spMkLst>
            <pc:docMk/>
            <pc:sldMk cId="1525025075" sldId="290"/>
            <ac:spMk id="11" creationId="{F3890468-87BC-419D-B57A-E8F8EB6A14D6}"/>
          </ac:spMkLst>
        </pc:spChg>
        <pc:grpChg chg="add mod">
          <ac:chgData name="Aniket Chhabra" userId="598e0514-bef3-4e71-b6aa-f2edd6441cff" providerId="ADAL" clId="{3ACAA428-FEF0-4514-AF29-92C470E4ABE5}" dt="2021-06-25T14:54:16.875" v="254" actId="1076"/>
          <ac:grpSpMkLst>
            <pc:docMk/>
            <pc:sldMk cId="1525025075" sldId="290"/>
            <ac:grpSpMk id="5" creationId="{6F593E9D-52DA-488E-AE77-6E19AA30FF40}"/>
          </ac:grpSpMkLst>
        </pc:grpChg>
        <pc:graphicFrameChg chg="mod">
          <ac:chgData name="Aniket Chhabra" userId="598e0514-bef3-4e71-b6aa-f2edd6441cff" providerId="ADAL" clId="{3ACAA428-FEF0-4514-AF29-92C470E4ABE5}" dt="2021-06-25T12:03:49.515" v="15"/>
          <ac:graphicFrameMkLst>
            <pc:docMk/>
            <pc:sldMk cId="1525025075" sldId="290"/>
            <ac:graphicFrameMk id="2" creationId="{31B3BF58-9D50-42DA-AB47-F79891CF17BA}"/>
          </ac:graphicFrameMkLst>
        </pc:graphicFrameChg>
        <pc:picChg chg="mod">
          <ac:chgData name="Aniket Chhabra" userId="598e0514-bef3-4e71-b6aa-f2edd6441cff" providerId="ADAL" clId="{3ACAA428-FEF0-4514-AF29-92C470E4ABE5}" dt="2021-06-25T14:52:03.609" v="83" actId="164"/>
          <ac:picMkLst>
            <pc:docMk/>
            <pc:sldMk cId="1525025075" sldId="290"/>
            <ac:picMk id="9" creationId="{0CB31611-DB55-440B-BB25-F38D28EB6C9E}"/>
          </ac:picMkLst>
        </pc:picChg>
      </pc:sldChg>
      <pc:sldChg chg="modSp mod">
        <pc:chgData name="Aniket Chhabra" userId="598e0514-bef3-4e71-b6aa-f2edd6441cff" providerId="ADAL" clId="{3ACAA428-FEF0-4514-AF29-92C470E4ABE5}" dt="2021-06-26T03:03:27.854" v="2840" actId="20577"/>
        <pc:sldMkLst>
          <pc:docMk/>
          <pc:sldMk cId="3090848438" sldId="291"/>
        </pc:sldMkLst>
        <pc:spChg chg="mod">
          <ac:chgData name="Aniket Chhabra" userId="598e0514-bef3-4e71-b6aa-f2edd6441cff" providerId="ADAL" clId="{3ACAA428-FEF0-4514-AF29-92C470E4ABE5}" dt="2021-06-26T03:03:27.854" v="2840" actId="20577"/>
          <ac:spMkLst>
            <pc:docMk/>
            <pc:sldMk cId="3090848438" sldId="291"/>
            <ac:spMk id="56" creationId="{5E35BB00-28C9-41E0-A420-3EB9F8E1AB38}"/>
          </ac:spMkLst>
        </pc:spChg>
        <pc:spChg chg="mod">
          <ac:chgData name="Aniket Chhabra" userId="598e0514-bef3-4e71-b6aa-f2edd6441cff" providerId="ADAL" clId="{3ACAA428-FEF0-4514-AF29-92C470E4ABE5}" dt="2021-06-25T14:54:34.771" v="269" actId="1035"/>
          <ac:spMkLst>
            <pc:docMk/>
            <pc:sldMk cId="3090848438" sldId="291"/>
            <ac:spMk id="58" creationId="{236FDDBC-5141-4088-B63D-A15318770F0E}"/>
          </ac:spMkLst>
        </pc:spChg>
        <pc:graphicFrameChg chg="mod">
          <ac:chgData name="Aniket Chhabra" userId="598e0514-bef3-4e71-b6aa-f2edd6441cff" providerId="ADAL" clId="{3ACAA428-FEF0-4514-AF29-92C470E4ABE5}" dt="2021-06-25T12:03:44.788" v="9"/>
          <ac:graphicFrameMkLst>
            <pc:docMk/>
            <pc:sldMk cId="3090848438" sldId="291"/>
            <ac:graphicFrameMk id="2" creationId="{5B82FCD9-9CF2-4596-B7F0-B7DA49EDB465}"/>
          </ac:graphicFrameMkLst>
        </pc:graphicFrameChg>
      </pc:sldChg>
      <pc:sldChg chg="new add del">
        <pc:chgData name="Aniket Chhabra" userId="598e0514-bef3-4e71-b6aa-f2edd6441cff" providerId="ADAL" clId="{3ACAA428-FEF0-4514-AF29-92C470E4ABE5}" dt="2021-06-25T15:07:29.220" v="611" actId="680"/>
        <pc:sldMkLst>
          <pc:docMk/>
          <pc:sldMk cId="1165252079" sldId="292"/>
        </pc:sldMkLst>
      </pc:sldChg>
      <pc:sldChg chg="addSp delSp modSp add mod">
        <pc:chgData name="Aniket Chhabra" userId="598e0514-bef3-4e71-b6aa-f2edd6441cff" providerId="ADAL" clId="{3ACAA428-FEF0-4514-AF29-92C470E4ABE5}" dt="2021-06-26T03:19:02.647" v="3004" actId="20577"/>
        <pc:sldMkLst>
          <pc:docMk/>
          <pc:sldMk cId="2214444738" sldId="292"/>
        </pc:sldMkLst>
        <pc:spChg chg="add del mod">
          <ac:chgData name="Aniket Chhabra" userId="598e0514-bef3-4e71-b6aa-f2edd6441cff" providerId="ADAL" clId="{3ACAA428-FEF0-4514-AF29-92C470E4ABE5}" dt="2021-06-25T18:31:26.458" v="1983" actId="478"/>
          <ac:spMkLst>
            <pc:docMk/>
            <pc:sldMk cId="2214444738" sldId="292"/>
            <ac:spMk id="5" creationId="{055F6241-E56F-46EC-883B-1E9354D76D3D}"/>
          </ac:spMkLst>
        </pc:spChg>
        <pc:spChg chg="add del mod">
          <ac:chgData name="Aniket Chhabra" userId="598e0514-bef3-4e71-b6aa-f2edd6441cff" providerId="ADAL" clId="{3ACAA428-FEF0-4514-AF29-92C470E4ABE5}" dt="2021-06-25T18:31:26.458" v="1983" actId="478"/>
          <ac:spMkLst>
            <pc:docMk/>
            <pc:sldMk cId="2214444738" sldId="292"/>
            <ac:spMk id="6" creationId="{9C32A262-C84B-4881-B8B1-7AF340CEC81F}"/>
          </ac:spMkLst>
        </pc:spChg>
        <pc:spChg chg="add del mod">
          <ac:chgData name="Aniket Chhabra" userId="598e0514-bef3-4e71-b6aa-f2edd6441cff" providerId="ADAL" clId="{3ACAA428-FEF0-4514-AF29-92C470E4ABE5}" dt="2021-06-25T18:31:26.458" v="1983" actId="478"/>
          <ac:spMkLst>
            <pc:docMk/>
            <pc:sldMk cId="2214444738" sldId="292"/>
            <ac:spMk id="7" creationId="{D096F9EF-E8B8-4463-B3D6-B7A7C77F60C6}"/>
          </ac:spMkLst>
        </pc:spChg>
        <pc:spChg chg="mod">
          <ac:chgData name="Aniket Chhabra" userId="598e0514-bef3-4e71-b6aa-f2edd6441cff" providerId="ADAL" clId="{3ACAA428-FEF0-4514-AF29-92C470E4ABE5}" dt="2021-06-25T18:29:47.380" v="1976" actId="6549"/>
          <ac:spMkLst>
            <pc:docMk/>
            <pc:sldMk cId="2214444738" sldId="292"/>
            <ac:spMk id="8" creationId="{5BC828C7-A50B-4B88-BA9A-D6E8DF31448A}"/>
          </ac:spMkLst>
        </pc:spChg>
        <pc:spChg chg="del">
          <ac:chgData name="Aniket Chhabra" userId="598e0514-bef3-4e71-b6aa-f2edd6441cff" providerId="ADAL" clId="{3ACAA428-FEF0-4514-AF29-92C470E4ABE5}" dt="2021-06-25T15:08:59.086" v="769" actId="478"/>
          <ac:spMkLst>
            <pc:docMk/>
            <pc:sldMk cId="2214444738" sldId="292"/>
            <ac:spMk id="9" creationId="{8D9AD09C-7EB0-409B-91B6-6D607DBE67E9}"/>
          </ac:spMkLst>
        </pc:spChg>
        <pc:spChg chg="del">
          <ac:chgData name="Aniket Chhabra" userId="598e0514-bef3-4e71-b6aa-f2edd6441cff" providerId="ADAL" clId="{3ACAA428-FEF0-4514-AF29-92C470E4ABE5}" dt="2021-06-25T15:08:59.086" v="769" actId="478"/>
          <ac:spMkLst>
            <pc:docMk/>
            <pc:sldMk cId="2214444738" sldId="292"/>
            <ac:spMk id="10" creationId="{7CF5E752-A209-4F70-886E-46992EE364A6}"/>
          </ac:spMkLst>
        </pc:spChg>
        <pc:spChg chg="mod">
          <ac:chgData name="Aniket Chhabra" userId="598e0514-bef3-4e71-b6aa-f2edd6441cff" providerId="ADAL" clId="{3ACAA428-FEF0-4514-AF29-92C470E4ABE5}" dt="2021-06-25T16:15:13.712" v="781"/>
          <ac:spMkLst>
            <pc:docMk/>
            <pc:sldMk cId="2214444738" sldId="292"/>
            <ac:spMk id="10" creationId="{C9FB1EDE-7714-4AAB-8FE9-753488C10A6F}"/>
          </ac:spMkLst>
        </pc:spChg>
        <pc:spChg chg="mod">
          <ac:chgData name="Aniket Chhabra" userId="598e0514-bef3-4e71-b6aa-f2edd6441cff" providerId="ADAL" clId="{3ACAA428-FEF0-4514-AF29-92C470E4ABE5}" dt="2021-06-25T16:15:13.712" v="781"/>
          <ac:spMkLst>
            <pc:docMk/>
            <pc:sldMk cId="2214444738" sldId="292"/>
            <ac:spMk id="11" creationId="{C8247E8B-62CD-4DAB-B184-5B05A7CE6D80}"/>
          </ac:spMkLst>
        </pc:spChg>
        <pc:spChg chg="del">
          <ac:chgData name="Aniket Chhabra" userId="598e0514-bef3-4e71-b6aa-f2edd6441cff" providerId="ADAL" clId="{3ACAA428-FEF0-4514-AF29-92C470E4ABE5}" dt="2021-06-25T15:08:59.086" v="769" actId="478"/>
          <ac:spMkLst>
            <pc:docMk/>
            <pc:sldMk cId="2214444738" sldId="292"/>
            <ac:spMk id="11" creationId="{F2EB64A7-6B09-43FE-B6B8-1D76BC6A8BA1}"/>
          </ac:spMkLst>
        </pc:spChg>
        <pc:spChg chg="del">
          <ac:chgData name="Aniket Chhabra" userId="598e0514-bef3-4e71-b6aa-f2edd6441cff" providerId="ADAL" clId="{3ACAA428-FEF0-4514-AF29-92C470E4ABE5}" dt="2021-06-25T15:08:59.086" v="769" actId="478"/>
          <ac:spMkLst>
            <pc:docMk/>
            <pc:sldMk cId="2214444738" sldId="292"/>
            <ac:spMk id="12" creationId="{774F37E2-CBB0-44E3-A30C-14538BFC1366}"/>
          </ac:spMkLst>
        </pc:spChg>
        <pc:spChg chg="mod">
          <ac:chgData name="Aniket Chhabra" userId="598e0514-bef3-4e71-b6aa-f2edd6441cff" providerId="ADAL" clId="{3ACAA428-FEF0-4514-AF29-92C470E4ABE5}" dt="2021-06-25T16:15:13.712" v="781"/>
          <ac:spMkLst>
            <pc:docMk/>
            <pc:sldMk cId="2214444738" sldId="292"/>
            <ac:spMk id="13" creationId="{087CE022-372C-440D-8CF5-70A07DC55D85}"/>
          </ac:spMkLst>
        </pc:spChg>
        <pc:spChg chg="del">
          <ac:chgData name="Aniket Chhabra" userId="598e0514-bef3-4e71-b6aa-f2edd6441cff" providerId="ADAL" clId="{3ACAA428-FEF0-4514-AF29-92C470E4ABE5}" dt="2021-06-25T15:08:59.086" v="769" actId="478"/>
          <ac:spMkLst>
            <pc:docMk/>
            <pc:sldMk cId="2214444738" sldId="292"/>
            <ac:spMk id="13" creationId="{849F70BC-F821-4FC4-BC71-AE52B21395C1}"/>
          </ac:spMkLst>
        </pc:spChg>
        <pc:spChg chg="del">
          <ac:chgData name="Aniket Chhabra" userId="598e0514-bef3-4e71-b6aa-f2edd6441cff" providerId="ADAL" clId="{3ACAA428-FEF0-4514-AF29-92C470E4ABE5}" dt="2021-06-25T15:08:59.086" v="769" actId="478"/>
          <ac:spMkLst>
            <pc:docMk/>
            <pc:sldMk cId="2214444738" sldId="292"/>
            <ac:spMk id="14" creationId="{376B7EC0-FB17-43A6-AA34-8042E4419967}"/>
          </ac:spMkLst>
        </pc:spChg>
        <pc:spChg chg="mod">
          <ac:chgData name="Aniket Chhabra" userId="598e0514-bef3-4e71-b6aa-f2edd6441cff" providerId="ADAL" clId="{3ACAA428-FEF0-4514-AF29-92C470E4ABE5}" dt="2021-06-25T16:15:13.712" v="781"/>
          <ac:spMkLst>
            <pc:docMk/>
            <pc:sldMk cId="2214444738" sldId="292"/>
            <ac:spMk id="14" creationId="{44632336-5CD7-472E-9AFC-66F4CA5BAD4E}"/>
          </ac:spMkLst>
        </pc:spChg>
        <pc:spChg chg="del">
          <ac:chgData name="Aniket Chhabra" userId="598e0514-bef3-4e71-b6aa-f2edd6441cff" providerId="ADAL" clId="{3ACAA428-FEF0-4514-AF29-92C470E4ABE5}" dt="2021-06-25T15:08:59.086" v="769" actId="478"/>
          <ac:spMkLst>
            <pc:docMk/>
            <pc:sldMk cId="2214444738" sldId="292"/>
            <ac:spMk id="15" creationId="{182F6039-4E8A-414B-B0CC-4474324EDA9F}"/>
          </ac:spMkLst>
        </pc:spChg>
        <pc:spChg chg="del">
          <ac:chgData name="Aniket Chhabra" userId="598e0514-bef3-4e71-b6aa-f2edd6441cff" providerId="ADAL" clId="{3ACAA428-FEF0-4514-AF29-92C470E4ABE5}" dt="2021-06-25T15:08:59.086" v="769" actId="478"/>
          <ac:spMkLst>
            <pc:docMk/>
            <pc:sldMk cId="2214444738" sldId="292"/>
            <ac:spMk id="16" creationId="{BB4B1269-8FCE-4141-AAEF-FF41FB0EA5E2}"/>
          </ac:spMkLst>
        </pc:spChg>
        <pc:spChg chg="mod">
          <ac:chgData name="Aniket Chhabra" userId="598e0514-bef3-4e71-b6aa-f2edd6441cff" providerId="ADAL" clId="{3ACAA428-FEF0-4514-AF29-92C470E4ABE5}" dt="2021-06-25T16:15:13.712" v="781"/>
          <ac:spMkLst>
            <pc:docMk/>
            <pc:sldMk cId="2214444738" sldId="292"/>
            <ac:spMk id="16" creationId="{DA7BEE12-9DC8-49D9-B249-DD7F0197C392}"/>
          </ac:spMkLst>
        </pc:spChg>
        <pc:spChg chg="del">
          <ac:chgData name="Aniket Chhabra" userId="598e0514-bef3-4e71-b6aa-f2edd6441cff" providerId="ADAL" clId="{3ACAA428-FEF0-4514-AF29-92C470E4ABE5}" dt="2021-06-25T15:08:59.086" v="769" actId="478"/>
          <ac:spMkLst>
            <pc:docMk/>
            <pc:sldMk cId="2214444738" sldId="292"/>
            <ac:spMk id="17" creationId="{0A844D59-90D4-466F-A718-48D218C62BBF}"/>
          </ac:spMkLst>
        </pc:spChg>
        <pc:spChg chg="mod">
          <ac:chgData name="Aniket Chhabra" userId="598e0514-bef3-4e71-b6aa-f2edd6441cff" providerId="ADAL" clId="{3ACAA428-FEF0-4514-AF29-92C470E4ABE5}" dt="2021-06-25T16:15:13.712" v="781"/>
          <ac:spMkLst>
            <pc:docMk/>
            <pc:sldMk cId="2214444738" sldId="292"/>
            <ac:spMk id="17" creationId="{E3614A5C-E41D-4FBA-AE42-C592E055090E}"/>
          </ac:spMkLst>
        </pc:spChg>
        <pc:spChg chg="del">
          <ac:chgData name="Aniket Chhabra" userId="598e0514-bef3-4e71-b6aa-f2edd6441cff" providerId="ADAL" clId="{3ACAA428-FEF0-4514-AF29-92C470E4ABE5}" dt="2021-06-25T15:08:59.086" v="769" actId="478"/>
          <ac:spMkLst>
            <pc:docMk/>
            <pc:sldMk cId="2214444738" sldId="292"/>
            <ac:spMk id="18" creationId="{041C4B16-E578-4711-A213-7AEA662CAEE8}"/>
          </ac:spMkLst>
        </pc:spChg>
        <pc:spChg chg="add del mod">
          <ac:chgData name="Aniket Chhabra" userId="598e0514-bef3-4e71-b6aa-f2edd6441cff" providerId="ADAL" clId="{3ACAA428-FEF0-4514-AF29-92C470E4ABE5}" dt="2021-06-25T18:31:26.458" v="1983" actId="478"/>
          <ac:spMkLst>
            <pc:docMk/>
            <pc:sldMk cId="2214444738" sldId="292"/>
            <ac:spMk id="18" creationId="{86F01FC9-FDEF-4371-A948-69FBB4A94658}"/>
          </ac:spMkLst>
        </pc:spChg>
        <pc:spChg chg="add del mod">
          <ac:chgData name="Aniket Chhabra" userId="598e0514-bef3-4e71-b6aa-f2edd6441cff" providerId="ADAL" clId="{3ACAA428-FEF0-4514-AF29-92C470E4ABE5}" dt="2021-06-25T18:31:26.458" v="1983" actId="478"/>
          <ac:spMkLst>
            <pc:docMk/>
            <pc:sldMk cId="2214444738" sldId="292"/>
            <ac:spMk id="19" creationId="{F6FDE419-5121-4D16-A49D-D8E888A02B2C}"/>
          </ac:spMkLst>
        </pc:spChg>
        <pc:spChg chg="add del mod">
          <ac:chgData name="Aniket Chhabra" userId="598e0514-bef3-4e71-b6aa-f2edd6441cff" providerId="ADAL" clId="{3ACAA428-FEF0-4514-AF29-92C470E4ABE5}" dt="2021-06-25T18:31:26.458" v="1983" actId="478"/>
          <ac:spMkLst>
            <pc:docMk/>
            <pc:sldMk cId="2214444738" sldId="292"/>
            <ac:spMk id="20" creationId="{4D9743BC-695F-4142-843C-29CAD8DEA7AB}"/>
          </ac:spMkLst>
        </pc:spChg>
        <pc:spChg chg="mod">
          <ac:chgData name="Aniket Chhabra" userId="598e0514-bef3-4e71-b6aa-f2edd6441cff" providerId="ADAL" clId="{3ACAA428-FEF0-4514-AF29-92C470E4ABE5}" dt="2021-06-25T16:15:29.266" v="784"/>
          <ac:spMkLst>
            <pc:docMk/>
            <pc:sldMk cId="2214444738" sldId="292"/>
            <ac:spMk id="22" creationId="{6A6665E2-40F1-4F52-8435-85F5FD6B87AF}"/>
          </ac:spMkLst>
        </pc:spChg>
        <pc:spChg chg="mod">
          <ac:chgData name="Aniket Chhabra" userId="598e0514-bef3-4e71-b6aa-f2edd6441cff" providerId="ADAL" clId="{3ACAA428-FEF0-4514-AF29-92C470E4ABE5}" dt="2021-06-25T16:15:29.266" v="784"/>
          <ac:spMkLst>
            <pc:docMk/>
            <pc:sldMk cId="2214444738" sldId="292"/>
            <ac:spMk id="23" creationId="{4087035E-7B42-450C-BB58-5670E3ACB76A}"/>
          </ac:spMkLst>
        </pc:spChg>
        <pc:spChg chg="mod">
          <ac:chgData name="Aniket Chhabra" userId="598e0514-bef3-4e71-b6aa-f2edd6441cff" providerId="ADAL" clId="{3ACAA428-FEF0-4514-AF29-92C470E4ABE5}" dt="2021-06-25T16:15:29.266" v="784"/>
          <ac:spMkLst>
            <pc:docMk/>
            <pc:sldMk cId="2214444738" sldId="292"/>
            <ac:spMk id="25" creationId="{3DFBC74D-09B7-4C62-8319-A3D505DE63B6}"/>
          </ac:spMkLst>
        </pc:spChg>
        <pc:spChg chg="mod">
          <ac:chgData name="Aniket Chhabra" userId="598e0514-bef3-4e71-b6aa-f2edd6441cff" providerId="ADAL" clId="{3ACAA428-FEF0-4514-AF29-92C470E4ABE5}" dt="2021-06-25T16:15:29.266" v="784"/>
          <ac:spMkLst>
            <pc:docMk/>
            <pc:sldMk cId="2214444738" sldId="292"/>
            <ac:spMk id="26" creationId="{8D953385-429B-419C-912E-4BA9BB623B53}"/>
          </ac:spMkLst>
        </pc:spChg>
        <pc:spChg chg="mod">
          <ac:chgData name="Aniket Chhabra" userId="598e0514-bef3-4e71-b6aa-f2edd6441cff" providerId="ADAL" clId="{3ACAA428-FEF0-4514-AF29-92C470E4ABE5}" dt="2021-06-25T16:15:29.266" v="784"/>
          <ac:spMkLst>
            <pc:docMk/>
            <pc:sldMk cId="2214444738" sldId="292"/>
            <ac:spMk id="28" creationId="{F29B506C-6057-42CE-AC9C-86198FA3FEAC}"/>
          </ac:spMkLst>
        </pc:spChg>
        <pc:spChg chg="mod">
          <ac:chgData name="Aniket Chhabra" userId="598e0514-bef3-4e71-b6aa-f2edd6441cff" providerId="ADAL" clId="{3ACAA428-FEF0-4514-AF29-92C470E4ABE5}" dt="2021-06-25T16:15:29.266" v="784"/>
          <ac:spMkLst>
            <pc:docMk/>
            <pc:sldMk cId="2214444738" sldId="292"/>
            <ac:spMk id="29" creationId="{3F007C86-25E7-4492-9204-AE794A275834}"/>
          </ac:spMkLst>
        </pc:spChg>
        <pc:spChg chg="add del mod">
          <ac:chgData name="Aniket Chhabra" userId="598e0514-bef3-4e71-b6aa-f2edd6441cff" providerId="ADAL" clId="{3ACAA428-FEF0-4514-AF29-92C470E4ABE5}" dt="2021-06-25T18:36:42.913" v="2101" actId="478"/>
          <ac:spMkLst>
            <pc:docMk/>
            <pc:sldMk cId="2214444738" sldId="292"/>
            <ac:spMk id="30" creationId="{75616A36-A5A9-4DF4-ABA6-A123DD4DDF00}"/>
          </ac:spMkLst>
        </pc:spChg>
        <pc:spChg chg="mod">
          <ac:chgData name="Aniket Chhabra" userId="598e0514-bef3-4e71-b6aa-f2edd6441cff" providerId="ADAL" clId="{3ACAA428-FEF0-4514-AF29-92C470E4ABE5}" dt="2021-06-25T18:34:19.451" v="2007"/>
          <ac:spMkLst>
            <pc:docMk/>
            <pc:sldMk cId="2214444738" sldId="292"/>
            <ac:spMk id="32" creationId="{127C8DA1-720F-46DF-B131-AD0628E3BE6A}"/>
          </ac:spMkLst>
        </pc:spChg>
        <pc:spChg chg="mod">
          <ac:chgData name="Aniket Chhabra" userId="598e0514-bef3-4e71-b6aa-f2edd6441cff" providerId="ADAL" clId="{3ACAA428-FEF0-4514-AF29-92C470E4ABE5}" dt="2021-06-25T18:34:19.451" v="2007"/>
          <ac:spMkLst>
            <pc:docMk/>
            <pc:sldMk cId="2214444738" sldId="292"/>
            <ac:spMk id="33" creationId="{C297F5AF-3245-42E9-991B-A84041A2D538}"/>
          </ac:spMkLst>
        </pc:spChg>
        <pc:spChg chg="mod">
          <ac:chgData name="Aniket Chhabra" userId="598e0514-bef3-4e71-b6aa-f2edd6441cff" providerId="ADAL" clId="{3ACAA428-FEF0-4514-AF29-92C470E4ABE5}" dt="2021-06-25T18:34:19.451" v="2007"/>
          <ac:spMkLst>
            <pc:docMk/>
            <pc:sldMk cId="2214444738" sldId="292"/>
            <ac:spMk id="34" creationId="{A8A3E2E3-0FC2-43A5-9B37-95DB2933B13F}"/>
          </ac:spMkLst>
        </pc:spChg>
        <pc:spChg chg="mod">
          <ac:chgData name="Aniket Chhabra" userId="598e0514-bef3-4e71-b6aa-f2edd6441cff" providerId="ADAL" clId="{3ACAA428-FEF0-4514-AF29-92C470E4ABE5}" dt="2021-06-25T18:34:45.921" v="2017" actId="255"/>
          <ac:spMkLst>
            <pc:docMk/>
            <pc:sldMk cId="2214444738" sldId="292"/>
            <ac:spMk id="35" creationId="{0D95C616-3017-4C6A-BD40-AB7FABA0E414}"/>
          </ac:spMkLst>
        </pc:spChg>
        <pc:spChg chg="mod">
          <ac:chgData name="Aniket Chhabra" userId="598e0514-bef3-4e71-b6aa-f2edd6441cff" providerId="ADAL" clId="{3ACAA428-FEF0-4514-AF29-92C470E4ABE5}" dt="2021-06-25T18:35:06.482" v="2019"/>
          <ac:spMkLst>
            <pc:docMk/>
            <pc:sldMk cId="2214444738" sldId="292"/>
            <ac:spMk id="37" creationId="{789D0367-C473-4688-9AB6-7E0FFE9F1A60}"/>
          </ac:spMkLst>
        </pc:spChg>
        <pc:spChg chg="mod">
          <ac:chgData name="Aniket Chhabra" userId="598e0514-bef3-4e71-b6aa-f2edd6441cff" providerId="ADAL" clId="{3ACAA428-FEF0-4514-AF29-92C470E4ABE5}" dt="2021-06-26T02:33:48.189" v="2763" actId="20577"/>
          <ac:spMkLst>
            <pc:docMk/>
            <pc:sldMk cId="2214444738" sldId="292"/>
            <ac:spMk id="38" creationId="{45488D7C-54B7-4C4E-98E3-5467F2F0F1BD}"/>
          </ac:spMkLst>
        </pc:spChg>
        <pc:spChg chg="mod">
          <ac:chgData name="Aniket Chhabra" userId="598e0514-bef3-4e71-b6aa-f2edd6441cff" providerId="ADAL" clId="{3ACAA428-FEF0-4514-AF29-92C470E4ABE5}" dt="2021-06-25T18:35:06.482" v="2019"/>
          <ac:spMkLst>
            <pc:docMk/>
            <pc:sldMk cId="2214444738" sldId="292"/>
            <ac:spMk id="39" creationId="{178F6C09-814A-4958-A450-6CC5BB36CF3A}"/>
          </ac:spMkLst>
        </pc:spChg>
        <pc:spChg chg="mod">
          <ac:chgData name="Aniket Chhabra" userId="598e0514-bef3-4e71-b6aa-f2edd6441cff" providerId="ADAL" clId="{3ACAA428-FEF0-4514-AF29-92C470E4ABE5}" dt="2021-06-25T18:35:30.121" v="2030" actId="255"/>
          <ac:spMkLst>
            <pc:docMk/>
            <pc:sldMk cId="2214444738" sldId="292"/>
            <ac:spMk id="40" creationId="{0F56972E-0BBA-44F2-886A-B599C228E216}"/>
          </ac:spMkLst>
        </pc:spChg>
        <pc:spChg chg="mod">
          <ac:chgData name="Aniket Chhabra" userId="598e0514-bef3-4e71-b6aa-f2edd6441cff" providerId="ADAL" clId="{3ACAA428-FEF0-4514-AF29-92C470E4ABE5}" dt="2021-06-25T18:42:33.628" v="2299" actId="208"/>
          <ac:spMkLst>
            <pc:docMk/>
            <pc:sldMk cId="2214444738" sldId="292"/>
            <ac:spMk id="42" creationId="{60FD335A-016E-47B4-BBC8-5DD3C4C66680}"/>
          </ac:spMkLst>
        </pc:spChg>
        <pc:spChg chg="mod">
          <ac:chgData name="Aniket Chhabra" userId="598e0514-bef3-4e71-b6aa-f2edd6441cff" providerId="ADAL" clId="{3ACAA428-FEF0-4514-AF29-92C470E4ABE5}" dt="2021-06-25T18:42:28.487" v="2297" actId="207"/>
          <ac:spMkLst>
            <pc:docMk/>
            <pc:sldMk cId="2214444738" sldId="292"/>
            <ac:spMk id="43" creationId="{32342547-FE92-4F28-B22C-5DB9C99E2E70}"/>
          </ac:spMkLst>
        </pc:spChg>
        <pc:spChg chg="mod">
          <ac:chgData name="Aniket Chhabra" userId="598e0514-bef3-4e71-b6aa-f2edd6441cff" providerId="ADAL" clId="{3ACAA428-FEF0-4514-AF29-92C470E4ABE5}" dt="2021-06-25T18:35:06.482" v="2019"/>
          <ac:spMkLst>
            <pc:docMk/>
            <pc:sldMk cId="2214444738" sldId="292"/>
            <ac:spMk id="44" creationId="{01062390-7A63-403A-8031-79CBDD26EF94}"/>
          </ac:spMkLst>
        </pc:spChg>
        <pc:spChg chg="mod">
          <ac:chgData name="Aniket Chhabra" userId="598e0514-bef3-4e71-b6aa-f2edd6441cff" providerId="ADAL" clId="{3ACAA428-FEF0-4514-AF29-92C470E4ABE5}" dt="2021-06-25T18:42:24.116" v="2296" actId="207"/>
          <ac:spMkLst>
            <pc:docMk/>
            <pc:sldMk cId="2214444738" sldId="292"/>
            <ac:spMk id="45" creationId="{91D733B4-6D86-4078-81B5-D3F45C51E5DE}"/>
          </ac:spMkLst>
        </pc:spChg>
        <pc:spChg chg="mod">
          <ac:chgData name="Aniket Chhabra" userId="598e0514-bef3-4e71-b6aa-f2edd6441cff" providerId="ADAL" clId="{3ACAA428-FEF0-4514-AF29-92C470E4ABE5}" dt="2021-06-25T18:43:14.152" v="2302" actId="208"/>
          <ac:spMkLst>
            <pc:docMk/>
            <pc:sldMk cId="2214444738" sldId="292"/>
            <ac:spMk id="47" creationId="{445F3E28-FED5-4726-870A-72B42B3D73F3}"/>
          </ac:spMkLst>
        </pc:spChg>
        <pc:spChg chg="mod">
          <ac:chgData name="Aniket Chhabra" userId="598e0514-bef3-4e71-b6aa-f2edd6441cff" providerId="ADAL" clId="{3ACAA428-FEF0-4514-AF29-92C470E4ABE5}" dt="2021-06-26T03:18:01.209" v="2922" actId="20577"/>
          <ac:spMkLst>
            <pc:docMk/>
            <pc:sldMk cId="2214444738" sldId="292"/>
            <ac:spMk id="48" creationId="{E6B0059B-F9E2-465F-BDFF-9456A2B4FB4F}"/>
          </ac:spMkLst>
        </pc:spChg>
        <pc:spChg chg="mod">
          <ac:chgData name="Aniket Chhabra" userId="598e0514-bef3-4e71-b6aa-f2edd6441cff" providerId="ADAL" clId="{3ACAA428-FEF0-4514-AF29-92C470E4ABE5}" dt="2021-06-25T18:35:06.482" v="2019"/>
          <ac:spMkLst>
            <pc:docMk/>
            <pc:sldMk cId="2214444738" sldId="292"/>
            <ac:spMk id="49" creationId="{3CF4BBAB-3B9F-49A6-B985-C8F2348632CB}"/>
          </ac:spMkLst>
        </pc:spChg>
        <pc:spChg chg="mod">
          <ac:chgData name="Aniket Chhabra" userId="598e0514-bef3-4e71-b6aa-f2edd6441cff" providerId="ADAL" clId="{3ACAA428-FEF0-4514-AF29-92C470E4ABE5}" dt="2021-06-25T18:43:09.256" v="2301" actId="207"/>
          <ac:spMkLst>
            <pc:docMk/>
            <pc:sldMk cId="2214444738" sldId="292"/>
            <ac:spMk id="50" creationId="{AF1D94C3-C7DD-4551-A438-20C1EF409D2B}"/>
          </ac:spMkLst>
        </pc:spChg>
        <pc:spChg chg="mod">
          <ac:chgData name="Aniket Chhabra" userId="598e0514-bef3-4e71-b6aa-f2edd6441cff" providerId="ADAL" clId="{3ACAA428-FEF0-4514-AF29-92C470E4ABE5}" dt="2021-06-25T18:35:06.482" v="2019"/>
          <ac:spMkLst>
            <pc:docMk/>
            <pc:sldMk cId="2214444738" sldId="292"/>
            <ac:spMk id="52" creationId="{95301547-7EBB-4D57-8B5C-8ADF9AB011D3}"/>
          </ac:spMkLst>
        </pc:spChg>
        <pc:spChg chg="mod">
          <ac:chgData name="Aniket Chhabra" userId="598e0514-bef3-4e71-b6aa-f2edd6441cff" providerId="ADAL" clId="{3ACAA428-FEF0-4514-AF29-92C470E4ABE5}" dt="2021-06-25T18:35:06.482" v="2019"/>
          <ac:spMkLst>
            <pc:docMk/>
            <pc:sldMk cId="2214444738" sldId="292"/>
            <ac:spMk id="53" creationId="{398896A7-1155-4992-9019-81B9DE26D705}"/>
          </ac:spMkLst>
        </pc:spChg>
        <pc:spChg chg="mod">
          <ac:chgData name="Aniket Chhabra" userId="598e0514-bef3-4e71-b6aa-f2edd6441cff" providerId="ADAL" clId="{3ACAA428-FEF0-4514-AF29-92C470E4ABE5}" dt="2021-06-25T18:35:06.482" v="2019"/>
          <ac:spMkLst>
            <pc:docMk/>
            <pc:sldMk cId="2214444738" sldId="292"/>
            <ac:spMk id="54" creationId="{90BEFB15-E50E-43A2-8DDE-3501F6226D1F}"/>
          </ac:spMkLst>
        </pc:spChg>
        <pc:spChg chg="mod">
          <ac:chgData name="Aniket Chhabra" userId="598e0514-bef3-4e71-b6aa-f2edd6441cff" providerId="ADAL" clId="{3ACAA428-FEF0-4514-AF29-92C470E4ABE5}" dt="2021-06-25T18:35:06.482" v="2019"/>
          <ac:spMkLst>
            <pc:docMk/>
            <pc:sldMk cId="2214444738" sldId="292"/>
            <ac:spMk id="55" creationId="{BA8B1939-11A7-464B-BAE7-C3034BE6403F}"/>
          </ac:spMkLst>
        </pc:spChg>
        <pc:spChg chg="mod">
          <ac:chgData name="Aniket Chhabra" userId="598e0514-bef3-4e71-b6aa-f2edd6441cff" providerId="ADAL" clId="{3ACAA428-FEF0-4514-AF29-92C470E4ABE5}" dt="2021-06-25T18:42:12.580" v="2295" actId="208"/>
          <ac:spMkLst>
            <pc:docMk/>
            <pc:sldMk cId="2214444738" sldId="292"/>
            <ac:spMk id="57" creationId="{3CAC9679-76F7-49A3-BE60-E36C7A8E4892}"/>
          </ac:spMkLst>
        </pc:spChg>
        <pc:spChg chg="mod">
          <ac:chgData name="Aniket Chhabra" userId="598e0514-bef3-4e71-b6aa-f2edd6441cff" providerId="ADAL" clId="{3ACAA428-FEF0-4514-AF29-92C470E4ABE5}" dt="2021-06-26T02:34:46.795" v="2804" actId="20577"/>
          <ac:spMkLst>
            <pc:docMk/>
            <pc:sldMk cId="2214444738" sldId="292"/>
            <ac:spMk id="58" creationId="{F67EA34B-1481-4055-B53E-3A15CAD6B705}"/>
          </ac:spMkLst>
        </pc:spChg>
        <pc:spChg chg="mod">
          <ac:chgData name="Aniket Chhabra" userId="598e0514-bef3-4e71-b6aa-f2edd6441cff" providerId="ADAL" clId="{3ACAA428-FEF0-4514-AF29-92C470E4ABE5}" dt="2021-06-25T18:37:39.084" v="2140"/>
          <ac:spMkLst>
            <pc:docMk/>
            <pc:sldMk cId="2214444738" sldId="292"/>
            <ac:spMk id="59" creationId="{E7231597-E2C1-44F1-ABC0-CB49E579E014}"/>
          </ac:spMkLst>
        </pc:spChg>
        <pc:spChg chg="mod">
          <ac:chgData name="Aniket Chhabra" userId="598e0514-bef3-4e71-b6aa-f2edd6441cff" providerId="ADAL" clId="{3ACAA428-FEF0-4514-AF29-92C470E4ABE5}" dt="2021-06-26T02:35:12.545" v="2819" actId="14100"/>
          <ac:spMkLst>
            <pc:docMk/>
            <pc:sldMk cId="2214444738" sldId="292"/>
            <ac:spMk id="60" creationId="{445BEF42-1423-41FB-BA86-A7822E21B30C}"/>
          </ac:spMkLst>
        </pc:spChg>
        <pc:spChg chg="mod">
          <ac:chgData name="Aniket Chhabra" userId="598e0514-bef3-4e71-b6aa-f2edd6441cff" providerId="ADAL" clId="{3ACAA428-FEF0-4514-AF29-92C470E4ABE5}" dt="2021-06-25T18:41:36.932" v="2288" actId="208"/>
          <ac:spMkLst>
            <pc:docMk/>
            <pc:sldMk cId="2214444738" sldId="292"/>
            <ac:spMk id="62" creationId="{5A66883C-632E-474B-8B72-2D22029A7C62}"/>
          </ac:spMkLst>
        </pc:spChg>
        <pc:spChg chg="mod">
          <ac:chgData name="Aniket Chhabra" userId="598e0514-bef3-4e71-b6aa-f2edd6441cff" providerId="ADAL" clId="{3ACAA428-FEF0-4514-AF29-92C470E4ABE5}" dt="2021-06-25T18:41:27.536" v="2286" actId="207"/>
          <ac:spMkLst>
            <pc:docMk/>
            <pc:sldMk cId="2214444738" sldId="292"/>
            <ac:spMk id="63" creationId="{B6D3E12A-A42B-4AA4-A892-49A5536B3D39}"/>
          </ac:spMkLst>
        </pc:spChg>
        <pc:spChg chg="mod">
          <ac:chgData name="Aniket Chhabra" userId="598e0514-bef3-4e71-b6aa-f2edd6441cff" providerId="ADAL" clId="{3ACAA428-FEF0-4514-AF29-92C470E4ABE5}" dt="2021-06-25T18:41:11.555" v="2284" actId="208"/>
          <ac:spMkLst>
            <pc:docMk/>
            <pc:sldMk cId="2214444738" sldId="292"/>
            <ac:spMk id="64" creationId="{AF865FBD-8807-4559-B3C5-1B104C103994}"/>
          </ac:spMkLst>
        </pc:spChg>
        <pc:spChg chg="mod">
          <ac:chgData name="Aniket Chhabra" userId="598e0514-bef3-4e71-b6aa-f2edd6441cff" providerId="ADAL" clId="{3ACAA428-FEF0-4514-AF29-92C470E4ABE5}" dt="2021-06-26T02:35:12.033" v="2818" actId="404"/>
          <ac:spMkLst>
            <pc:docMk/>
            <pc:sldMk cId="2214444738" sldId="292"/>
            <ac:spMk id="65" creationId="{116C3AE4-A5E8-4A9E-A1B7-E838EE667F8F}"/>
          </ac:spMkLst>
        </pc:spChg>
        <pc:spChg chg="mod">
          <ac:chgData name="Aniket Chhabra" userId="598e0514-bef3-4e71-b6aa-f2edd6441cff" providerId="ADAL" clId="{3ACAA428-FEF0-4514-AF29-92C470E4ABE5}" dt="2021-06-25T18:41:01.088" v="2283" actId="208"/>
          <ac:spMkLst>
            <pc:docMk/>
            <pc:sldMk cId="2214444738" sldId="292"/>
            <ac:spMk id="67" creationId="{6C2E0E74-0D22-43CF-BD16-55E610206BA8}"/>
          </ac:spMkLst>
        </pc:spChg>
        <pc:spChg chg="mod">
          <ac:chgData name="Aniket Chhabra" userId="598e0514-bef3-4e71-b6aa-f2edd6441cff" providerId="ADAL" clId="{3ACAA428-FEF0-4514-AF29-92C470E4ABE5}" dt="2021-06-26T03:19:02.647" v="3004" actId="20577"/>
          <ac:spMkLst>
            <pc:docMk/>
            <pc:sldMk cId="2214444738" sldId="292"/>
            <ac:spMk id="68" creationId="{6EF77A1E-73CB-48F1-828D-35F04BD88B1E}"/>
          </ac:spMkLst>
        </pc:spChg>
        <pc:spChg chg="mod">
          <ac:chgData name="Aniket Chhabra" userId="598e0514-bef3-4e71-b6aa-f2edd6441cff" providerId="ADAL" clId="{3ACAA428-FEF0-4514-AF29-92C470E4ABE5}" dt="2021-06-25T18:39:52.950" v="2227"/>
          <ac:spMkLst>
            <pc:docMk/>
            <pc:sldMk cId="2214444738" sldId="292"/>
            <ac:spMk id="69" creationId="{A9D23EDE-2A76-4467-99EA-1DA70063543B}"/>
          </ac:spMkLst>
        </pc:spChg>
        <pc:spChg chg="mod">
          <ac:chgData name="Aniket Chhabra" userId="598e0514-bef3-4e71-b6aa-f2edd6441cff" providerId="ADAL" clId="{3ACAA428-FEF0-4514-AF29-92C470E4ABE5}" dt="2021-06-25T18:40:42.949" v="2281" actId="207"/>
          <ac:spMkLst>
            <pc:docMk/>
            <pc:sldMk cId="2214444738" sldId="292"/>
            <ac:spMk id="70" creationId="{8F992A87-E9A6-4E40-8BF4-E3A9BD86B642}"/>
          </ac:spMkLst>
        </pc:spChg>
        <pc:spChg chg="mod">
          <ac:chgData name="Aniket Chhabra" userId="598e0514-bef3-4e71-b6aa-f2edd6441cff" providerId="ADAL" clId="{3ACAA428-FEF0-4514-AF29-92C470E4ABE5}" dt="2021-06-25T18:44:03.627" v="2313" actId="1076"/>
          <ac:spMkLst>
            <pc:docMk/>
            <pc:sldMk cId="2214444738" sldId="292"/>
            <ac:spMk id="283" creationId="{00000000-0000-0000-0000-000000000000}"/>
          </ac:spMkLst>
        </pc:spChg>
        <pc:grpChg chg="add del mod">
          <ac:chgData name="Aniket Chhabra" userId="598e0514-bef3-4e71-b6aa-f2edd6441cff" providerId="ADAL" clId="{3ACAA428-FEF0-4514-AF29-92C470E4ABE5}" dt="2021-06-25T18:31:26.458" v="1983" actId="478"/>
          <ac:grpSpMkLst>
            <pc:docMk/>
            <pc:sldMk cId="2214444738" sldId="292"/>
            <ac:grpSpMk id="9" creationId="{83EB1951-D26D-4ACC-AEB2-C868C82774C5}"/>
          </ac:grpSpMkLst>
        </pc:grpChg>
        <pc:grpChg chg="add del mod">
          <ac:chgData name="Aniket Chhabra" userId="598e0514-bef3-4e71-b6aa-f2edd6441cff" providerId="ADAL" clId="{3ACAA428-FEF0-4514-AF29-92C470E4ABE5}" dt="2021-06-25T18:31:26.458" v="1983" actId="478"/>
          <ac:grpSpMkLst>
            <pc:docMk/>
            <pc:sldMk cId="2214444738" sldId="292"/>
            <ac:grpSpMk id="12" creationId="{5E0F3719-4D7B-4DFC-BA35-EAB0B71CBFA7}"/>
          </ac:grpSpMkLst>
        </pc:grpChg>
        <pc:grpChg chg="add del mod">
          <ac:chgData name="Aniket Chhabra" userId="598e0514-bef3-4e71-b6aa-f2edd6441cff" providerId="ADAL" clId="{3ACAA428-FEF0-4514-AF29-92C470E4ABE5}" dt="2021-06-25T18:31:26.458" v="1983" actId="478"/>
          <ac:grpSpMkLst>
            <pc:docMk/>
            <pc:sldMk cId="2214444738" sldId="292"/>
            <ac:grpSpMk id="15" creationId="{DD47D708-6BD1-418C-AF28-4A26EEF10CA1}"/>
          </ac:grpSpMkLst>
        </pc:grpChg>
        <pc:grpChg chg="del">
          <ac:chgData name="Aniket Chhabra" userId="598e0514-bef3-4e71-b6aa-f2edd6441cff" providerId="ADAL" clId="{3ACAA428-FEF0-4514-AF29-92C470E4ABE5}" dt="2021-06-25T15:09:03.037" v="770" actId="478"/>
          <ac:grpSpMkLst>
            <pc:docMk/>
            <pc:sldMk cId="2214444738" sldId="292"/>
            <ac:grpSpMk id="20" creationId="{0E72B36C-7B1A-494E-969F-AAF4CEE7CFC0}"/>
          </ac:grpSpMkLst>
        </pc:grpChg>
        <pc:grpChg chg="add del mod">
          <ac:chgData name="Aniket Chhabra" userId="598e0514-bef3-4e71-b6aa-f2edd6441cff" providerId="ADAL" clId="{3ACAA428-FEF0-4514-AF29-92C470E4ABE5}" dt="2021-06-25T18:31:26.458" v="1983" actId="478"/>
          <ac:grpSpMkLst>
            <pc:docMk/>
            <pc:sldMk cId="2214444738" sldId="292"/>
            <ac:grpSpMk id="21" creationId="{E89BDB13-963D-4948-9974-6F6E9A5FF330}"/>
          </ac:grpSpMkLst>
        </pc:grpChg>
        <pc:grpChg chg="del">
          <ac:chgData name="Aniket Chhabra" userId="598e0514-bef3-4e71-b6aa-f2edd6441cff" providerId="ADAL" clId="{3ACAA428-FEF0-4514-AF29-92C470E4ABE5}" dt="2021-06-25T15:08:59.086" v="769" actId="478"/>
          <ac:grpSpMkLst>
            <pc:docMk/>
            <pc:sldMk cId="2214444738" sldId="292"/>
            <ac:grpSpMk id="23" creationId="{A26D7884-F4D8-49BD-96DB-1C12EEF2DA44}"/>
          </ac:grpSpMkLst>
        </pc:grpChg>
        <pc:grpChg chg="add del mod">
          <ac:chgData name="Aniket Chhabra" userId="598e0514-bef3-4e71-b6aa-f2edd6441cff" providerId="ADAL" clId="{3ACAA428-FEF0-4514-AF29-92C470E4ABE5}" dt="2021-06-25T18:31:26.458" v="1983" actId="478"/>
          <ac:grpSpMkLst>
            <pc:docMk/>
            <pc:sldMk cId="2214444738" sldId="292"/>
            <ac:grpSpMk id="24" creationId="{64312DA9-BF05-4F6A-8233-6D3E1B4EDD46}"/>
          </ac:grpSpMkLst>
        </pc:grpChg>
        <pc:grpChg chg="del">
          <ac:chgData name="Aniket Chhabra" userId="598e0514-bef3-4e71-b6aa-f2edd6441cff" providerId="ADAL" clId="{3ACAA428-FEF0-4514-AF29-92C470E4ABE5}" dt="2021-06-25T15:08:59.086" v="769" actId="478"/>
          <ac:grpSpMkLst>
            <pc:docMk/>
            <pc:sldMk cId="2214444738" sldId="292"/>
            <ac:grpSpMk id="26" creationId="{6E7C9B5B-DC32-4B7B-9895-6D3776AE5808}"/>
          </ac:grpSpMkLst>
        </pc:grpChg>
        <pc:grpChg chg="add del mod">
          <ac:chgData name="Aniket Chhabra" userId="598e0514-bef3-4e71-b6aa-f2edd6441cff" providerId="ADAL" clId="{3ACAA428-FEF0-4514-AF29-92C470E4ABE5}" dt="2021-06-25T18:31:26.458" v="1983" actId="478"/>
          <ac:grpSpMkLst>
            <pc:docMk/>
            <pc:sldMk cId="2214444738" sldId="292"/>
            <ac:grpSpMk id="27" creationId="{656EBBF4-54CD-4F21-AAD3-3510E56600EF}"/>
          </ac:grpSpMkLst>
        </pc:grpChg>
        <pc:grpChg chg="del">
          <ac:chgData name="Aniket Chhabra" userId="598e0514-bef3-4e71-b6aa-f2edd6441cff" providerId="ADAL" clId="{3ACAA428-FEF0-4514-AF29-92C470E4ABE5}" dt="2021-06-25T15:09:03.037" v="770" actId="478"/>
          <ac:grpSpMkLst>
            <pc:docMk/>
            <pc:sldMk cId="2214444738" sldId="292"/>
            <ac:grpSpMk id="29" creationId="{76052A7B-03C5-4DB0-928B-D72EBA35F2A7}"/>
          </ac:grpSpMkLst>
        </pc:grpChg>
        <pc:grpChg chg="add del mod">
          <ac:chgData name="Aniket Chhabra" userId="598e0514-bef3-4e71-b6aa-f2edd6441cff" providerId="ADAL" clId="{3ACAA428-FEF0-4514-AF29-92C470E4ABE5}" dt="2021-06-25T18:34:56.084" v="2018" actId="478"/>
          <ac:grpSpMkLst>
            <pc:docMk/>
            <pc:sldMk cId="2214444738" sldId="292"/>
            <ac:grpSpMk id="31" creationId="{2685A6B3-D627-43DB-A643-3DD078EB1EE9}"/>
          </ac:grpSpMkLst>
        </pc:grpChg>
        <pc:grpChg chg="del">
          <ac:chgData name="Aniket Chhabra" userId="598e0514-bef3-4e71-b6aa-f2edd6441cff" providerId="ADAL" clId="{3ACAA428-FEF0-4514-AF29-92C470E4ABE5}" dt="2021-06-25T15:08:59.086" v="769" actId="478"/>
          <ac:grpSpMkLst>
            <pc:docMk/>
            <pc:sldMk cId="2214444738" sldId="292"/>
            <ac:grpSpMk id="32" creationId="{480FF5E4-EA8D-4AD1-A333-287FB0032209}"/>
          </ac:grpSpMkLst>
        </pc:grpChg>
        <pc:grpChg chg="add mod">
          <ac:chgData name="Aniket Chhabra" userId="598e0514-bef3-4e71-b6aa-f2edd6441cff" providerId="ADAL" clId="{3ACAA428-FEF0-4514-AF29-92C470E4ABE5}" dt="2021-06-26T03:18:32.335" v="2963" actId="1038"/>
          <ac:grpSpMkLst>
            <pc:docMk/>
            <pc:sldMk cId="2214444738" sldId="292"/>
            <ac:grpSpMk id="36" creationId="{FA48D6D9-C7ED-49EA-B844-1B094247E5B8}"/>
          </ac:grpSpMkLst>
        </pc:grpChg>
        <pc:grpChg chg="add mod">
          <ac:chgData name="Aniket Chhabra" userId="598e0514-bef3-4e71-b6aa-f2edd6441cff" providerId="ADAL" clId="{3ACAA428-FEF0-4514-AF29-92C470E4ABE5}" dt="2021-06-26T03:18:32.335" v="2963" actId="1038"/>
          <ac:grpSpMkLst>
            <pc:docMk/>
            <pc:sldMk cId="2214444738" sldId="292"/>
            <ac:grpSpMk id="41" creationId="{B16E43D2-F1C7-4CFD-BD1B-0E7E6DE44EF0}"/>
          </ac:grpSpMkLst>
        </pc:grpChg>
        <pc:grpChg chg="add mod">
          <ac:chgData name="Aniket Chhabra" userId="598e0514-bef3-4e71-b6aa-f2edd6441cff" providerId="ADAL" clId="{3ACAA428-FEF0-4514-AF29-92C470E4ABE5}" dt="2021-06-26T03:18:32.740" v="2964" actId="1076"/>
          <ac:grpSpMkLst>
            <pc:docMk/>
            <pc:sldMk cId="2214444738" sldId="292"/>
            <ac:grpSpMk id="46" creationId="{E9C7A118-3E9C-447F-BAF1-7576B50575B6}"/>
          </ac:grpSpMkLst>
        </pc:grpChg>
        <pc:grpChg chg="add del mod">
          <ac:chgData name="Aniket Chhabra" userId="598e0514-bef3-4e71-b6aa-f2edd6441cff" providerId="ADAL" clId="{3ACAA428-FEF0-4514-AF29-92C470E4ABE5}" dt="2021-06-25T18:40:26.807" v="2280" actId="478"/>
          <ac:grpSpMkLst>
            <pc:docMk/>
            <pc:sldMk cId="2214444738" sldId="292"/>
            <ac:grpSpMk id="51" creationId="{8FA12793-BEFB-4225-8EBA-F8392A89EAA0}"/>
          </ac:grpSpMkLst>
        </pc:grpChg>
        <pc:grpChg chg="add mod">
          <ac:chgData name="Aniket Chhabra" userId="598e0514-bef3-4e71-b6aa-f2edd6441cff" providerId="ADAL" clId="{3ACAA428-FEF0-4514-AF29-92C470E4ABE5}" dt="2021-06-26T03:18:32.335" v="2963" actId="1038"/>
          <ac:grpSpMkLst>
            <pc:docMk/>
            <pc:sldMk cId="2214444738" sldId="292"/>
            <ac:grpSpMk id="56" creationId="{6306FAA9-28B8-460C-923D-06349AA397BF}"/>
          </ac:grpSpMkLst>
        </pc:grpChg>
        <pc:grpChg chg="add mod">
          <ac:chgData name="Aniket Chhabra" userId="598e0514-bef3-4e71-b6aa-f2edd6441cff" providerId="ADAL" clId="{3ACAA428-FEF0-4514-AF29-92C470E4ABE5}" dt="2021-06-26T03:18:32.335" v="2963" actId="1038"/>
          <ac:grpSpMkLst>
            <pc:docMk/>
            <pc:sldMk cId="2214444738" sldId="292"/>
            <ac:grpSpMk id="61" creationId="{CB56DC0A-03C3-46EA-9D68-4C1FA687511A}"/>
          </ac:grpSpMkLst>
        </pc:grpChg>
        <pc:grpChg chg="add del mod">
          <ac:chgData name="Aniket Chhabra" userId="598e0514-bef3-4e71-b6aa-f2edd6441cff" providerId="ADAL" clId="{3ACAA428-FEF0-4514-AF29-92C470E4ABE5}" dt="2021-06-26T03:18:33.236" v="2965" actId="478"/>
          <ac:grpSpMkLst>
            <pc:docMk/>
            <pc:sldMk cId="2214444738" sldId="292"/>
            <ac:grpSpMk id="66" creationId="{21BF34A2-CB65-4721-84AF-C9EDB1427B1D}"/>
          </ac:grpSpMkLst>
        </pc:grpChg>
        <pc:graphicFrameChg chg="mod">
          <ac:chgData name="Aniket Chhabra" userId="598e0514-bef3-4e71-b6aa-f2edd6441cff" providerId="ADAL" clId="{3ACAA428-FEF0-4514-AF29-92C470E4ABE5}" dt="2021-06-25T18:44:03.627" v="2315"/>
          <ac:graphicFrameMkLst>
            <pc:docMk/>
            <pc:sldMk cId="2214444738" sldId="292"/>
            <ac:graphicFrameMk id="2" creationId="{31B3BF58-9D50-42DA-AB47-F79891CF17BA}"/>
          </ac:graphicFrameMkLst>
        </pc:graphicFrameChg>
      </pc:sldChg>
      <pc:sldChg chg="new add del">
        <pc:chgData name="Aniket Chhabra" userId="598e0514-bef3-4e71-b6aa-f2edd6441cff" providerId="ADAL" clId="{3ACAA428-FEF0-4514-AF29-92C470E4ABE5}" dt="2021-06-25T15:02:06.315" v="342" actId="680"/>
        <pc:sldMkLst>
          <pc:docMk/>
          <pc:sldMk cId="4193483251" sldId="292"/>
        </pc:sldMkLst>
      </pc:sldChg>
      <pc:sldChg chg="addSp delSp modSp add mod">
        <pc:chgData name="Aniket Chhabra" userId="598e0514-bef3-4e71-b6aa-f2edd6441cff" providerId="ADAL" clId="{3ACAA428-FEF0-4514-AF29-92C470E4ABE5}" dt="2021-06-25T18:49:23.673" v="2416" actId="12788"/>
        <pc:sldMkLst>
          <pc:docMk/>
          <pc:sldMk cId="2812784899" sldId="293"/>
        </pc:sldMkLst>
        <pc:spChg chg="add del mod">
          <ac:chgData name="Aniket Chhabra" userId="598e0514-bef3-4e71-b6aa-f2edd6441cff" providerId="ADAL" clId="{3ACAA428-FEF0-4514-AF29-92C470E4ABE5}" dt="2021-06-25T18:46:22.700" v="2395" actId="478"/>
          <ac:spMkLst>
            <pc:docMk/>
            <pc:sldMk cId="2812784899" sldId="293"/>
            <ac:spMk id="4" creationId="{C0F4CC4B-F4D6-4A3D-A288-EC9BEFB421A5}"/>
          </ac:spMkLst>
        </pc:spChg>
        <pc:spChg chg="add del mod">
          <ac:chgData name="Aniket Chhabra" userId="598e0514-bef3-4e71-b6aa-f2edd6441cff" providerId="ADAL" clId="{3ACAA428-FEF0-4514-AF29-92C470E4ABE5}" dt="2021-06-25T15:07:51.787" v="619" actId="478"/>
          <ac:spMkLst>
            <pc:docMk/>
            <pc:sldMk cId="2812784899" sldId="293"/>
            <ac:spMk id="4" creationId="{DB13593B-3D1A-4BD3-8CAF-E75F2F89CA21}"/>
          </ac:spMkLst>
        </pc:spChg>
        <pc:spChg chg="del">
          <ac:chgData name="Aniket Chhabra" userId="598e0514-bef3-4e71-b6aa-f2edd6441cff" providerId="ADAL" clId="{3ACAA428-FEF0-4514-AF29-92C470E4ABE5}" dt="2021-06-25T15:07:49.360" v="617" actId="478"/>
          <ac:spMkLst>
            <pc:docMk/>
            <pc:sldMk cId="2812784899" sldId="293"/>
            <ac:spMk id="8" creationId="{5BC828C7-A50B-4B88-BA9A-D6E8DF31448A}"/>
          </ac:spMkLst>
        </pc:spChg>
        <pc:spChg chg="del">
          <ac:chgData name="Aniket Chhabra" userId="598e0514-bef3-4e71-b6aa-f2edd6441cff" providerId="ADAL" clId="{3ACAA428-FEF0-4514-AF29-92C470E4ABE5}" dt="2021-06-25T15:07:42.048" v="614" actId="478"/>
          <ac:spMkLst>
            <pc:docMk/>
            <pc:sldMk cId="2812784899" sldId="293"/>
            <ac:spMk id="9" creationId="{8D9AD09C-7EB0-409B-91B6-6D607DBE67E9}"/>
          </ac:spMkLst>
        </pc:spChg>
        <pc:spChg chg="del">
          <ac:chgData name="Aniket Chhabra" userId="598e0514-bef3-4e71-b6aa-f2edd6441cff" providerId="ADAL" clId="{3ACAA428-FEF0-4514-AF29-92C470E4ABE5}" dt="2021-06-25T15:07:42.048" v="614" actId="478"/>
          <ac:spMkLst>
            <pc:docMk/>
            <pc:sldMk cId="2812784899" sldId="293"/>
            <ac:spMk id="10" creationId="{7CF5E752-A209-4F70-886E-46992EE364A6}"/>
          </ac:spMkLst>
        </pc:spChg>
        <pc:spChg chg="del">
          <ac:chgData name="Aniket Chhabra" userId="598e0514-bef3-4e71-b6aa-f2edd6441cff" providerId="ADAL" clId="{3ACAA428-FEF0-4514-AF29-92C470E4ABE5}" dt="2021-06-25T15:07:42.048" v="614" actId="478"/>
          <ac:spMkLst>
            <pc:docMk/>
            <pc:sldMk cId="2812784899" sldId="293"/>
            <ac:spMk id="11" creationId="{F2EB64A7-6B09-43FE-B6B8-1D76BC6A8BA1}"/>
          </ac:spMkLst>
        </pc:spChg>
        <pc:spChg chg="del">
          <ac:chgData name="Aniket Chhabra" userId="598e0514-bef3-4e71-b6aa-f2edd6441cff" providerId="ADAL" clId="{3ACAA428-FEF0-4514-AF29-92C470E4ABE5}" dt="2021-06-25T15:07:42.048" v="614" actId="478"/>
          <ac:spMkLst>
            <pc:docMk/>
            <pc:sldMk cId="2812784899" sldId="293"/>
            <ac:spMk id="12" creationId="{774F37E2-CBB0-44E3-A30C-14538BFC1366}"/>
          </ac:spMkLst>
        </pc:spChg>
        <pc:spChg chg="del">
          <ac:chgData name="Aniket Chhabra" userId="598e0514-bef3-4e71-b6aa-f2edd6441cff" providerId="ADAL" clId="{3ACAA428-FEF0-4514-AF29-92C470E4ABE5}" dt="2021-06-25T15:07:42.048" v="614" actId="478"/>
          <ac:spMkLst>
            <pc:docMk/>
            <pc:sldMk cId="2812784899" sldId="293"/>
            <ac:spMk id="13" creationId="{849F70BC-F821-4FC4-BC71-AE52B21395C1}"/>
          </ac:spMkLst>
        </pc:spChg>
        <pc:spChg chg="del">
          <ac:chgData name="Aniket Chhabra" userId="598e0514-bef3-4e71-b6aa-f2edd6441cff" providerId="ADAL" clId="{3ACAA428-FEF0-4514-AF29-92C470E4ABE5}" dt="2021-06-25T15:07:42.048" v="614" actId="478"/>
          <ac:spMkLst>
            <pc:docMk/>
            <pc:sldMk cId="2812784899" sldId="293"/>
            <ac:spMk id="14" creationId="{376B7EC0-FB17-43A6-AA34-8042E4419967}"/>
          </ac:spMkLst>
        </pc:spChg>
        <pc:spChg chg="del">
          <ac:chgData name="Aniket Chhabra" userId="598e0514-bef3-4e71-b6aa-f2edd6441cff" providerId="ADAL" clId="{3ACAA428-FEF0-4514-AF29-92C470E4ABE5}" dt="2021-06-25T15:07:42.048" v="614" actId="478"/>
          <ac:spMkLst>
            <pc:docMk/>
            <pc:sldMk cId="2812784899" sldId="293"/>
            <ac:spMk id="15" creationId="{182F6039-4E8A-414B-B0CC-4474324EDA9F}"/>
          </ac:spMkLst>
        </pc:spChg>
        <pc:spChg chg="del">
          <ac:chgData name="Aniket Chhabra" userId="598e0514-bef3-4e71-b6aa-f2edd6441cff" providerId="ADAL" clId="{3ACAA428-FEF0-4514-AF29-92C470E4ABE5}" dt="2021-06-25T15:07:42.048" v="614" actId="478"/>
          <ac:spMkLst>
            <pc:docMk/>
            <pc:sldMk cId="2812784899" sldId="293"/>
            <ac:spMk id="16" creationId="{BB4B1269-8FCE-4141-AAEF-FF41FB0EA5E2}"/>
          </ac:spMkLst>
        </pc:spChg>
        <pc:spChg chg="del">
          <ac:chgData name="Aniket Chhabra" userId="598e0514-bef3-4e71-b6aa-f2edd6441cff" providerId="ADAL" clId="{3ACAA428-FEF0-4514-AF29-92C470E4ABE5}" dt="2021-06-25T15:07:42.048" v="614" actId="478"/>
          <ac:spMkLst>
            <pc:docMk/>
            <pc:sldMk cId="2812784899" sldId="293"/>
            <ac:spMk id="17" creationId="{0A844D59-90D4-466F-A718-48D218C62BBF}"/>
          </ac:spMkLst>
        </pc:spChg>
        <pc:spChg chg="del">
          <ac:chgData name="Aniket Chhabra" userId="598e0514-bef3-4e71-b6aa-f2edd6441cff" providerId="ADAL" clId="{3ACAA428-FEF0-4514-AF29-92C470E4ABE5}" dt="2021-06-25T15:07:42.048" v="614" actId="478"/>
          <ac:spMkLst>
            <pc:docMk/>
            <pc:sldMk cId="2812784899" sldId="293"/>
            <ac:spMk id="18" creationId="{041C4B16-E578-4711-A213-7AEA662CAEE8}"/>
          </ac:spMkLst>
        </pc:spChg>
        <pc:spChg chg="del topLvl">
          <ac:chgData name="Aniket Chhabra" userId="598e0514-bef3-4e71-b6aa-f2edd6441cff" providerId="ADAL" clId="{3ACAA428-FEF0-4514-AF29-92C470E4ABE5}" dt="2021-06-25T15:07:46.382" v="616" actId="478"/>
          <ac:spMkLst>
            <pc:docMk/>
            <pc:sldMk cId="2812784899" sldId="293"/>
            <ac:spMk id="24" creationId="{0CB169A8-D4A0-4F41-BCCE-C7494463739D}"/>
          </ac:spMkLst>
        </pc:spChg>
        <pc:spChg chg="del topLvl">
          <ac:chgData name="Aniket Chhabra" userId="598e0514-bef3-4e71-b6aa-f2edd6441cff" providerId="ADAL" clId="{3ACAA428-FEF0-4514-AF29-92C470E4ABE5}" dt="2021-06-25T15:07:45.083" v="615" actId="478"/>
          <ac:spMkLst>
            <pc:docMk/>
            <pc:sldMk cId="2812784899" sldId="293"/>
            <ac:spMk id="25" creationId="{57991250-62A4-47AE-AA72-38756969826B}"/>
          </ac:spMkLst>
        </pc:spChg>
        <pc:spChg chg="del mod">
          <ac:chgData name="Aniket Chhabra" userId="598e0514-bef3-4e71-b6aa-f2edd6441cff" providerId="ADAL" clId="{3ACAA428-FEF0-4514-AF29-92C470E4ABE5}" dt="2021-06-25T18:46:20.758" v="2392" actId="478"/>
          <ac:spMkLst>
            <pc:docMk/>
            <pc:sldMk cId="2812784899" sldId="293"/>
            <ac:spMk id="283" creationId="{00000000-0000-0000-0000-000000000000}"/>
          </ac:spMkLst>
        </pc:spChg>
        <pc:grpChg chg="del">
          <ac:chgData name="Aniket Chhabra" userId="598e0514-bef3-4e71-b6aa-f2edd6441cff" providerId="ADAL" clId="{3ACAA428-FEF0-4514-AF29-92C470E4ABE5}" dt="2021-06-25T15:07:42.048" v="614" actId="478"/>
          <ac:grpSpMkLst>
            <pc:docMk/>
            <pc:sldMk cId="2812784899" sldId="293"/>
            <ac:grpSpMk id="20" creationId="{0E72B36C-7B1A-494E-969F-AAF4CEE7CFC0}"/>
          </ac:grpSpMkLst>
        </pc:grpChg>
        <pc:grpChg chg="del">
          <ac:chgData name="Aniket Chhabra" userId="598e0514-bef3-4e71-b6aa-f2edd6441cff" providerId="ADAL" clId="{3ACAA428-FEF0-4514-AF29-92C470E4ABE5}" dt="2021-06-25T15:07:45.083" v="615" actId="478"/>
          <ac:grpSpMkLst>
            <pc:docMk/>
            <pc:sldMk cId="2812784899" sldId="293"/>
            <ac:grpSpMk id="23" creationId="{A26D7884-F4D8-49BD-96DB-1C12EEF2DA44}"/>
          </ac:grpSpMkLst>
        </pc:grpChg>
        <pc:grpChg chg="del">
          <ac:chgData name="Aniket Chhabra" userId="598e0514-bef3-4e71-b6aa-f2edd6441cff" providerId="ADAL" clId="{3ACAA428-FEF0-4514-AF29-92C470E4ABE5}" dt="2021-06-25T15:07:42.048" v="614" actId="478"/>
          <ac:grpSpMkLst>
            <pc:docMk/>
            <pc:sldMk cId="2812784899" sldId="293"/>
            <ac:grpSpMk id="26" creationId="{6E7C9B5B-DC32-4B7B-9895-6D3776AE5808}"/>
          </ac:grpSpMkLst>
        </pc:grpChg>
        <pc:grpChg chg="del">
          <ac:chgData name="Aniket Chhabra" userId="598e0514-bef3-4e71-b6aa-f2edd6441cff" providerId="ADAL" clId="{3ACAA428-FEF0-4514-AF29-92C470E4ABE5}" dt="2021-06-25T15:07:42.048" v="614" actId="478"/>
          <ac:grpSpMkLst>
            <pc:docMk/>
            <pc:sldMk cId="2812784899" sldId="293"/>
            <ac:grpSpMk id="29" creationId="{76052A7B-03C5-4DB0-928B-D72EBA35F2A7}"/>
          </ac:grpSpMkLst>
        </pc:grpChg>
        <pc:grpChg chg="del">
          <ac:chgData name="Aniket Chhabra" userId="598e0514-bef3-4e71-b6aa-f2edd6441cff" providerId="ADAL" clId="{3ACAA428-FEF0-4514-AF29-92C470E4ABE5}" dt="2021-06-25T15:07:42.048" v="614" actId="478"/>
          <ac:grpSpMkLst>
            <pc:docMk/>
            <pc:sldMk cId="2812784899" sldId="293"/>
            <ac:grpSpMk id="32" creationId="{480FF5E4-EA8D-4AD1-A333-287FB0032209}"/>
          </ac:grpSpMkLst>
        </pc:grpChg>
        <pc:graphicFrameChg chg="mod">
          <ac:chgData name="Aniket Chhabra" userId="598e0514-bef3-4e71-b6aa-f2edd6441cff" providerId="ADAL" clId="{3ACAA428-FEF0-4514-AF29-92C470E4ABE5}" dt="2021-06-25T18:46:23.221" v="2397"/>
          <ac:graphicFrameMkLst>
            <pc:docMk/>
            <pc:sldMk cId="2812784899" sldId="293"/>
            <ac:graphicFrameMk id="2" creationId="{31B3BF58-9D50-42DA-AB47-F79891CF17BA}"/>
          </ac:graphicFrameMkLst>
        </pc:graphicFrameChg>
        <pc:picChg chg="add del mod">
          <ac:chgData name="Aniket Chhabra" userId="598e0514-bef3-4e71-b6aa-f2edd6441cff" providerId="ADAL" clId="{3ACAA428-FEF0-4514-AF29-92C470E4ABE5}" dt="2021-06-25T18:47:09.503" v="2402" actId="478"/>
          <ac:picMkLst>
            <pc:docMk/>
            <pc:sldMk cId="2812784899" sldId="293"/>
            <ac:picMk id="1026" creationId="{4E1AD9F9-F0F5-4649-96BB-AF75F0F40BE1}"/>
          </ac:picMkLst>
        </pc:picChg>
        <pc:picChg chg="add del mod">
          <ac:chgData name="Aniket Chhabra" userId="598e0514-bef3-4e71-b6aa-f2edd6441cff" providerId="ADAL" clId="{3ACAA428-FEF0-4514-AF29-92C470E4ABE5}" dt="2021-06-25T18:47:25.097" v="2406" actId="478"/>
          <ac:picMkLst>
            <pc:docMk/>
            <pc:sldMk cId="2812784899" sldId="293"/>
            <ac:picMk id="1028" creationId="{40643093-01E9-467E-B900-83D3B8E12310}"/>
          </ac:picMkLst>
        </pc:picChg>
        <pc:picChg chg="add del mod">
          <ac:chgData name="Aniket Chhabra" userId="598e0514-bef3-4e71-b6aa-f2edd6441cff" providerId="ADAL" clId="{3ACAA428-FEF0-4514-AF29-92C470E4ABE5}" dt="2021-06-25T18:48:07.551" v="2409" actId="478"/>
          <ac:picMkLst>
            <pc:docMk/>
            <pc:sldMk cId="2812784899" sldId="293"/>
            <ac:picMk id="1030" creationId="{06F1001A-F600-48D7-8001-A8BB8246752D}"/>
          </ac:picMkLst>
        </pc:picChg>
        <pc:picChg chg="add mod">
          <ac:chgData name="Aniket Chhabra" userId="598e0514-bef3-4e71-b6aa-f2edd6441cff" providerId="ADAL" clId="{3ACAA428-FEF0-4514-AF29-92C470E4ABE5}" dt="2021-06-25T18:49:23.673" v="2416" actId="12788"/>
          <ac:picMkLst>
            <pc:docMk/>
            <pc:sldMk cId="2812784899" sldId="293"/>
            <ac:picMk id="1032" creationId="{FB686DBC-4D6B-48B5-9F57-4E03E6D16553}"/>
          </ac:picMkLst>
        </pc:picChg>
      </pc:sldChg>
      <pc:sldChg chg="new add del">
        <pc:chgData name="Aniket Chhabra" userId="598e0514-bef3-4e71-b6aa-f2edd6441cff" providerId="ADAL" clId="{3ACAA428-FEF0-4514-AF29-92C470E4ABE5}" dt="2021-06-25T18:45:40.135" v="2391" actId="2696"/>
        <pc:sldMkLst>
          <pc:docMk/>
          <pc:sldMk cId="2175000452" sldId="294"/>
        </pc:sldMkLst>
      </pc:sldChg>
      <pc:sldChg chg="new add del">
        <pc:chgData name="Aniket Chhabra" userId="598e0514-bef3-4e71-b6aa-f2edd6441cff" providerId="ADAL" clId="{3ACAA428-FEF0-4514-AF29-92C470E4ABE5}" dt="2021-06-25T18:30:13.893" v="1980" actId="47"/>
        <pc:sldMkLst>
          <pc:docMk/>
          <pc:sldMk cId="2262381885" sldId="294"/>
        </pc:sldMkLst>
      </pc:sldChg>
      <pc:sldChg chg="addSp delSp modSp add del mod">
        <pc:chgData name="Aniket Chhabra" userId="598e0514-bef3-4e71-b6aa-f2edd6441cff" providerId="ADAL" clId="{3ACAA428-FEF0-4514-AF29-92C470E4ABE5}" dt="2021-06-25T18:45:17.549" v="2386" actId="2696"/>
        <pc:sldMkLst>
          <pc:docMk/>
          <pc:sldMk cId="2574812304" sldId="294"/>
        </pc:sldMkLst>
        <pc:spChg chg="add del mod">
          <ac:chgData name="Aniket Chhabra" userId="598e0514-bef3-4e71-b6aa-f2edd6441cff" providerId="ADAL" clId="{3ACAA428-FEF0-4514-AF29-92C470E4ABE5}" dt="2021-06-25T18:34:06.871" v="1998" actId="478"/>
          <ac:spMkLst>
            <pc:docMk/>
            <pc:sldMk cId="2574812304" sldId="294"/>
            <ac:spMk id="4" creationId="{38B305EE-DCDC-44C8-A155-C66D031C19E8}"/>
          </ac:spMkLst>
        </pc:spChg>
        <pc:spChg chg="del">
          <ac:chgData name="Aniket Chhabra" userId="598e0514-bef3-4e71-b6aa-f2edd6441cff" providerId="ADAL" clId="{3ACAA428-FEF0-4514-AF29-92C470E4ABE5}" dt="2021-06-25T18:34:00.470" v="1990" actId="478"/>
          <ac:spMkLst>
            <pc:docMk/>
            <pc:sldMk cId="2574812304" sldId="294"/>
            <ac:spMk id="5" creationId="{055F6241-E56F-46EC-883B-1E9354D76D3D}"/>
          </ac:spMkLst>
        </pc:spChg>
        <pc:spChg chg="del">
          <ac:chgData name="Aniket Chhabra" userId="598e0514-bef3-4e71-b6aa-f2edd6441cff" providerId="ADAL" clId="{3ACAA428-FEF0-4514-AF29-92C470E4ABE5}" dt="2021-06-25T18:34:00.470" v="1990" actId="478"/>
          <ac:spMkLst>
            <pc:docMk/>
            <pc:sldMk cId="2574812304" sldId="294"/>
            <ac:spMk id="6" creationId="{9C32A262-C84B-4881-B8B1-7AF340CEC81F}"/>
          </ac:spMkLst>
        </pc:spChg>
        <pc:spChg chg="del">
          <ac:chgData name="Aniket Chhabra" userId="598e0514-bef3-4e71-b6aa-f2edd6441cff" providerId="ADAL" clId="{3ACAA428-FEF0-4514-AF29-92C470E4ABE5}" dt="2021-06-25T18:34:00.470" v="1990" actId="478"/>
          <ac:spMkLst>
            <pc:docMk/>
            <pc:sldMk cId="2574812304" sldId="294"/>
            <ac:spMk id="7" creationId="{D096F9EF-E8B8-4463-B3D6-B7A7C77F60C6}"/>
          </ac:spMkLst>
        </pc:spChg>
        <pc:spChg chg="del">
          <ac:chgData name="Aniket Chhabra" userId="598e0514-bef3-4e71-b6aa-f2edd6441cff" providerId="ADAL" clId="{3ACAA428-FEF0-4514-AF29-92C470E4ABE5}" dt="2021-06-25T18:34:00.470" v="1990" actId="478"/>
          <ac:spMkLst>
            <pc:docMk/>
            <pc:sldMk cId="2574812304" sldId="294"/>
            <ac:spMk id="8" creationId="{5BC828C7-A50B-4B88-BA9A-D6E8DF31448A}"/>
          </ac:spMkLst>
        </pc:spChg>
        <pc:spChg chg="del">
          <ac:chgData name="Aniket Chhabra" userId="598e0514-bef3-4e71-b6aa-f2edd6441cff" providerId="ADAL" clId="{3ACAA428-FEF0-4514-AF29-92C470E4ABE5}" dt="2021-06-25T18:34:00.470" v="1990" actId="478"/>
          <ac:spMkLst>
            <pc:docMk/>
            <pc:sldMk cId="2574812304" sldId="294"/>
            <ac:spMk id="18" creationId="{86F01FC9-FDEF-4371-A948-69FBB4A94658}"/>
          </ac:spMkLst>
        </pc:spChg>
        <pc:spChg chg="del">
          <ac:chgData name="Aniket Chhabra" userId="598e0514-bef3-4e71-b6aa-f2edd6441cff" providerId="ADAL" clId="{3ACAA428-FEF0-4514-AF29-92C470E4ABE5}" dt="2021-06-25T18:34:00.470" v="1990" actId="478"/>
          <ac:spMkLst>
            <pc:docMk/>
            <pc:sldMk cId="2574812304" sldId="294"/>
            <ac:spMk id="19" creationId="{F6FDE419-5121-4D16-A49D-D8E888A02B2C}"/>
          </ac:spMkLst>
        </pc:spChg>
        <pc:spChg chg="del">
          <ac:chgData name="Aniket Chhabra" userId="598e0514-bef3-4e71-b6aa-f2edd6441cff" providerId="ADAL" clId="{3ACAA428-FEF0-4514-AF29-92C470E4ABE5}" dt="2021-06-25T18:34:00.470" v="1990" actId="478"/>
          <ac:spMkLst>
            <pc:docMk/>
            <pc:sldMk cId="2574812304" sldId="294"/>
            <ac:spMk id="20" creationId="{4D9743BC-695F-4142-843C-29CAD8DEA7AB}"/>
          </ac:spMkLst>
        </pc:spChg>
        <pc:spChg chg="add mod">
          <ac:chgData name="Aniket Chhabra" userId="598e0514-bef3-4e71-b6aa-f2edd6441cff" providerId="ADAL" clId="{3ACAA428-FEF0-4514-AF29-92C470E4ABE5}" dt="2021-06-25T18:34:00.470" v="1990" actId="478"/>
          <ac:spMkLst>
            <pc:docMk/>
            <pc:sldMk cId="2574812304" sldId="294"/>
            <ac:spMk id="31" creationId="{7CB9549B-CA5F-4181-94D9-A67A0D5F8E5D}"/>
          </ac:spMkLst>
        </pc:spChg>
        <pc:spChg chg="add mod">
          <ac:chgData name="Aniket Chhabra" userId="598e0514-bef3-4e71-b6aa-f2edd6441cff" providerId="ADAL" clId="{3ACAA428-FEF0-4514-AF29-92C470E4ABE5}" dt="2021-06-25T18:34:01.420" v="1994" actId="27636"/>
          <ac:spMkLst>
            <pc:docMk/>
            <pc:sldMk cId="2574812304" sldId="294"/>
            <ac:spMk id="33" creationId="{343C2B3C-3280-4D96-81D9-46B46A4C4E59}"/>
          </ac:spMkLst>
        </pc:spChg>
        <pc:spChg chg="add 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35" creationId="{EDB5A431-2ACA-4351-8A8B-BA3289746C8A}"/>
          </ac:spMkLst>
        </pc:spChg>
        <pc:spChg chg="add 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36" creationId="{42D508AA-F4F6-4968-B553-F7D3BD383E02}"/>
          </ac:spMkLst>
        </pc:spChg>
        <pc:spChg chg="add 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37" creationId="{FE30F067-64EC-43DF-AB63-B674E6E9306C}"/>
          </ac:spMkLst>
        </pc:spChg>
        <pc:spChg chg="add 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38" creationId="{E3EACAC6-477C-4419-8ABC-E28690FD3C89}"/>
          </ac:spMkLst>
        </pc:spChg>
        <pc:spChg chg="add 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41" creationId="{2D64BC8B-60AD-411E-A431-808670401867}"/>
          </ac:spMkLst>
        </pc:spChg>
        <pc:spChg chg="add 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42" creationId="{4D4821F9-BE62-470C-88CA-D6DF195CAB04}"/>
          </ac:spMkLst>
        </pc:spChg>
        <pc:spChg chg="add 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43" creationId="{11AE7E2F-C3E1-4BE7-8653-0879C2FE02F6}"/>
          </ac:spMkLst>
        </pc:spChg>
        <pc:spChg chg="add 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44" creationId="{D272CD48-AF26-483B-BC00-F8E6D053F913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47" creationId="{9A0E6709-8204-4334-A11D-401290CFD80E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48" creationId="{3C93F52A-7A59-40E4-AFB5-BCDDFEBB8A92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49" creationId="{8DC78D37-E664-4C2D-8A9E-44100B0E9C00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50" creationId="{EBECCF6F-3114-449C-A7E1-FA7D9292918D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52" creationId="{3823BAC6-4FAD-4211-8E6F-1C996A45055E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53" creationId="{84BA57E8-FB52-4B39-9C77-F8296F666E57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54" creationId="{D2970F4C-945F-45A0-A034-9BEA8BCD122A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55" creationId="{3077AE3B-D448-4D64-AAD3-1546C02CDAC6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57" creationId="{BB03F2B1-260D-4AF6-96A6-A8FECA65351A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58" creationId="{808BE947-FDB7-4928-83B3-67CA63832635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59" creationId="{2B8CAD2A-D520-4564-9172-D4A40AE42468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60" creationId="{EB2A5B45-77DA-401C-BECA-9E2CF7EF25D2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62" creationId="{4C1247CE-B93F-4344-B37E-DD02D6AA707B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63" creationId="{30D9D1A1-5FD5-4E8F-B063-50BF1E124B38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64" creationId="{9BF091D0-90B8-4673-A586-934C8A94C992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65" creationId="{3404FFDC-B489-4E36-8E0B-6258372FD4CA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67" creationId="{B58589DA-7554-4BC9-94F3-0E68E47DEDCD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68" creationId="{3BB32A3C-800D-49E9-8A8C-8C6605A6AA79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69" creationId="{DB95328C-12AA-4675-8612-8D0EFFC9F5B4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70" creationId="{946A0493-56AE-4D6C-8EE1-5AE467CA371C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72" creationId="{B3EC63F9-2AA3-4A2F-B0A1-C1967BFA70E4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73" creationId="{317C29AC-4307-4270-8A2E-8D7AA70C1FC7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74" creationId="{AE51F58B-EA18-40CF-8891-335E89CE7F3F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75" creationId="{9CF17056-49C9-41AC-8E59-B21162E5DC61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77" creationId="{6F539617-ECD3-4F0E-869C-2063E82CA362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78" creationId="{872EF250-33F8-4E3F-A671-3C3B74E054AF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79" creationId="{51292C0D-8148-4DF5-AFB8-166940903B00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80" creationId="{5AF69BFC-2FFE-4BA3-BFEC-7C4D6793AA4A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82" creationId="{BB233A78-69E5-42CE-9E14-518E9213766D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83" creationId="{F1F009DC-4B6E-49C3-8975-05AE7B0B95D1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84" creationId="{8098883B-46E0-4843-A31B-B1356BB2395A}"/>
          </ac:spMkLst>
        </pc:spChg>
        <pc:spChg chg="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85" creationId="{695E5CF4-3D81-4C69-881D-E48075B13935}"/>
          </ac:spMkLst>
        </pc:spChg>
        <pc:spChg chg="add mod">
          <ac:chgData name="Aniket Chhabra" userId="598e0514-bef3-4e71-b6aa-f2edd6441cff" providerId="ADAL" clId="{3ACAA428-FEF0-4514-AF29-92C470E4ABE5}" dt="2021-06-25T18:34:01.212" v="1993"/>
          <ac:spMkLst>
            <pc:docMk/>
            <pc:sldMk cId="2574812304" sldId="294"/>
            <ac:spMk id="86" creationId="{A95F17B2-EB96-40FD-94E6-F8498D690F3F}"/>
          </ac:spMkLst>
        </pc:spChg>
        <pc:spChg chg="del">
          <ac:chgData name="Aniket Chhabra" userId="598e0514-bef3-4e71-b6aa-f2edd6441cff" providerId="ADAL" clId="{3ACAA428-FEF0-4514-AF29-92C470E4ABE5}" dt="2021-06-25T18:34:00.470" v="1990" actId="478"/>
          <ac:spMkLst>
            <pc:docMk/>
            <pc:sldMk cId="2574812304" sldId="294"/>
            <ac:spMk id="283" creationId="{00000000-0000-0000-0000-000000000000}"/>
          </ac:spMkLst>
        </pc:spChg>
        <pc:grpChg chg="del">
          <ac:chgData name="Aniket Chhabra" userId="598e0514-bef3-4e71-b6aa-f2edd6441cff" providerId="ADAL" clId="{3ACAA428-FEF0-4514-AF29-92C470E4ABE5}" dt="2021-06-25T18:34:00.470" v="1990" actId="478"/>
          <ac:grpSpMkLst>
            <pc:docMk/>
            <pc:sldMk cId="2574812304" sldId="294"/>
            <ac:grpSpMk id="9" creationId="{83EB1951-D26D-4ACC-AEB2-C868C82774C5}"/>
          </ac:grpSpMkLst>
        </pc:grpChg>
        <pc:grpChg chg="del">
          <ac:chgData name="Aniket Chhabra" userId="598e0514-bef3-4e71-b6aa-f2edd6441cff" providerId="ADAL" clId="{3ACAA428-FEF0-4514-AF29-92C470E4ABE5}" dt="2021-06-25T18:34:00.470" v="1990" actId="478"/>
          <ac:grpSpMkLst>
            <pc:docMk/>
            <pc:sldMk cId="2574812304" sldId="294"/>
            <ac:grpSpMk id="12" creationId="{5E0F3719-4D7B-4DFC-BA35-EAB0B71CBFA7}"/>
          </ac:grpSpMkLst>
        </pc:grpChg>
        <pc:grpChg chg="del">
          <ac:chgData name="Aniket Chhabra" userId="598e0514-bef3-4e71-b6aa-f2edd6441cff" providerId="ADAL" clId="{3ACAA428-FEF0-4514-AF29-92C470E4ABE5}" dt="2021-06-25T18:34:00.470" v="1990" actId="478"/>
          <ac:grpSpMkLst>
            <pc:docMk/>
            <pc:sldMk cId="2574812304" sldId="294"/>
            <ac:grpSpMk id="15" creationId="{DD47D708-6BD1-418C-AF28-4A26EEF10CA1}"/>
          </ac:grpSpMkLst>
        </pc:grpChg>
        <pc:grpChg chg="del">
          <ac:chgData name="Aniket Chhabra" userId="598e0514-bef3-4e71-b6aa-f2edd6441cff" providerId="ADAL" clId="{3ACAA428-FEF0-4514-AF29-92C470E4ABE5}" dt="2021-06-25T18:34:00.470" v="1990" actId="478"/>
          <ac:grpSpMkLst>
            <pc:docMk/>
            <pc:sldMk cId="2574812304" sldId="294"/>
            <ac:grpSpMk id="21" creationId="{E89BDB13-963D-4948-9974-6F6E9A5FF330}"/>
          </ac:grpSpMkLst>
        </pc:grpChg>
        <pc:grpChg chg="del">
          <ac:chgData name="Aniket Chhabra" userId="598e0514-bef3-4e71-b6aa-f2edd6441cff" providerId="ADAL" clId="{3ACAA428-FEF0-4514-AF29-92C470E4ABE5}" dt="2021-06-25T18:34:00.470" v="1990" actId="478"/>
          <ac:grpSpMkLst>
            <pc:docMk/>
            <pc:sldMk cId="2574812304" sldId="294"/>
            <ac:grpSpMk id="24" creationId="{64312DA9-BF05-4F6A-8233-6D3E1B4EDD46}"/>
          </ac:grpSpMkLst>
        </pc:grpChg>
        <pc:grpChg chg="del">
          <ac:chgData name="Aniket Chhabra" userId="598e0514-bef3-4e71-b6aa-f2edd6441cff" providerId="ADAL" clId="{3ACAA428-FEF0-4514-AF29-92C470E4ABE5}" dt="2021-06-25T18:34:00.470" v="1990" actId="478"/>
          <ac:grpSpMkLst>
            <pc:docMk/>
            <pc:sldMk cId="2574812304" sldId="294"/>
            <ac:grpSpMk id="27" creationId="{656EBBF4-54CD-4F21-AAD3-3510E56600EF}"/>
          </ac:grpSpMkLst>
        </pc:grpChg>
        <pc:grpChg chg="add mod">
          <ac:chgData name="Aniket Chhabra" userId="598e0514-bef3-4e71-b6aa-f2edd6441cff" providerId="ADAL" clId="{3ACAA428-FEF0-4514-AF29-92C470E4ABE5}" dt="2021-06-25T18:34:01.212" v="1993"/>
          <ac:grpSpMkLst>
            <pc:docMk/>
            <pc:sldMk cId="2574812304" sldId="294"/>
            <ac:grpSpMk id="46" creationId="{171A80AA-C5D1-4B0D-A5C3-C730AE1CCA1B}"/>
          </ac:grpSpMkLst>
        </pc:grpChg>
        <pc:grpChg chg="add mod">
          <ac:chgData name="Aniket Chhabra" userId="598e0514-bef3-4e71-b6aa-f2edd6441cff" providerId="ADAL" clId="{3ACAA428-FEF0-4514-AF29-92C470E4ABE5}" dt="2021-06-25T18:34:01.212" v="1993"/>
          <ac:grpSpMkLst>
            <pc:docMk/>
            <pc:sldMk cId="2574812304" sldId="294"/>
            <ac:grpSpMk id="51" creationId="{CA9D85DB-EEA7-40E5-A9D9-3DFB767994C0}"/>
          </ac:grpSpMkLst>
        </pc:grpChg>
        <pc:grpChg chg="add mod">
          <ac:chgData name="Aniket Chhabra" userId="598e0514-bef3-4e71-b6aa-f2edd6441cff" providerId="ADAL" clId="{3ACAA428-FEF0-4514-AF29-92C470E4ABE5}" dt="2021-06-25T18:34:01.212" v="1993"/>
          <ac:grpSpMkLst>
            <pc:docMk/>
            <pc:sldMk cId="2574812304" sldId="294"/>
            <ac:grpSpMk id="56" creationId="{8B9F9247-FE33-41F3-AB8A-B04055509DEA}"/>
          </ac:grpSpMkLst>
        </pc:grpChg>
        <pc:grpChg chg="add mod">
          <ac:chgData name="Aniket Chhabra" userId="598e0514-bef3-4e71-b6aa-f2edd6441cff" providerId="ADAL" clId="{3ACAA428-FEF0-4514-AF29-92C470E4ABE5}" dt="2021-06-25T18:34:01.212" v="1993"/>
          <ac:grpSpMkLst>
            <pc:docMk/>
            <pc:sldMk cId="2574812304" sldId="294"/>
            <ac:grpSpMk id="61" creationId="{49482491-77C9-4E0B-8BBD-EA6AABA7EBEC}"/>
          </ac:grpSpMkLst>
        </pc:grpChg>
        <pc:grpChg chg="add mod">
          <ac:chgData name="Aniket Chhabra" userId="598e0514-bef3-4e71-b6aa-f2edd6441cff" providerId="ADAL" clId="{3ACAA428-FEF0-4514-AF29-92C470E4ABE5}" dt="2021-06-25T18:34:01.212" v="1993"/>
          <ac:grpSpMkLst>
            <pc:docMk/>
            <pc:sldMk cId="2574812304" sldId="294"/>
            <ac:grpSpMk id="66" creationId="{CD2412D6-D35E-410C-BA92-E41E7FE46A8A}"/>
          </ac:grpSpMkLst>
        </pc:grpChg>
        <pc:grpChg chg="add mod">
          <ac:chgData name="Aniket Chhabra" userId="598e0514-bef3-4e71-b6aa-f2edd6441cff" providerId="ADAL" clId="{3ACAA428-FEF0-4514-AF29-92C470E4ABE5}" dt="2021-06-25T18:34:01.212" v="1993"/>
          <ac:grpSpMkLst>
            <pc:docMk/>
            <pc:sldMk cId="2574812304" sldId="294"/>
            <ac:grpSpMk id="71" creationId="{56B13F81-2EEF-400B-9759-D72DFA5F2899}"/>
          </ac:grpSpMkLst>
        </pc:grpChg>
        <pc:grpChg chg="add mod">
          <ac:chgData name="Aniket Chhabra" userId="598e0514-bef3-4e71-b6aa-f2edd6441cff" providerId="ADAL" clId="{3ACAA428-FEF0-4514-AF29-92C470E4ABE5}" dt="2021-06-25T18:34:01.212" v="1993"/>
          <ac:grpSpMkLst>
            <pc:docMk/>
            <pc:sldMk cId="2574812304" sldId="294"/>
            <ac:grpSpMk id="76" creationId="{21371320-7AB8-42B9-BE41-7A72CCAC05EE}"/>
          </ac:grpSpMkLst>
        </pc:grpChg>
        <pc:grpChg chg="add mod">
          <ac:chgData name="Aniket Chhabra" userId="598e0514-bef3-4e71-b6aa-f2edd6441cff" providerId="ADAL" clId="{3ACAA428-FEF0-4514-AF29-92C470E4ABE5}" dt="2021-06-25T18:34:01.212" v="1993"/>
          <ac:grpSpMkLst>
            <pc:docMk/>
            <pc:sldMk cId="2574812304" sldId="294"/>
            <ac:grpSpMk id="81" creationId="{4767C050-E9A7-48F7-8EBF-36BAB9ECDA08}"/>
          </ac:grpSpMkLst>
        </pc:grpChg>
        <pc:graphicFrameChg chg="mod">
          <ac:chgData name="Aniket Chhabra" userId="598e0514-bef3-4e71-b6aa-f2edd6441cff" providerId="ADAL" clId="{3ACAA428-FEF0-4514-AF29-92C470E4ABE5}" dt="2021-06-25T18:34:07.403" v="2000"/>
          <ac:graphicFrameMkLst>
            <pc:docMk/>
            <pc:sldMk cId="2574812304" sldId="294"/>
            <ac:graphicFrameMk id="2" creationId="{31B3BF58-9D50-42DA-AB47-F79891CF17BA}"/>
          </ac:graphicFrameMkLst>
        </pc:graphicFrameChg>
        <pc:picChg chg="add mod">
          <ac:chgData name="Aniket Chhabra" userId="598e0514-bef3-4e71-b6aa-f2edd6441cff" providerId="ADAL" clId="{3ACAA428-FEF0-4514-AF29-92C470E4ABE5}" dt="2021-06-25T18:34:01.212" v="1993"/>
          <ac:picMkLst>
            <pc:docMk/>
            <pc:sldMk cId="2574812304" sldId="294"/>
            <ac:picMk id="87" creationId="{FB914AAA-63DD-4D19-AF2F-8BB42E5F9D4B}"/>
          </ac:picMkLst>
        </pc:picChg>
        <pc:cxnChg chg="add mod">
          <ac:chgData name="Aniket Chhabra" userId="598e0514-bef3-4e71-b6aa-f2edd6441cff" providerId="ADAL" clId="{3ACAA428-FEF0-4514-AF29-92C470E4ABE5}" dt="2021-06-25T18:34:01.212" v="1993"/>
          <ac:cxnSpMkLst>
            <pc:docMk/>
            <pc:sldMk cId="2574812304" sldId="294"/>
            <ac:cxnSpMk id="34" creationId="{E67A067E-EDDF-4F7E-8340-D33632D81860}"/>
          </ac:cxnSpMkLst>
        </pc:cxnChg>
        <pc:cxnChg chg="add mod">
          <ac:chgData name="Aniket Chhabra" userId="598e0514-bef3-4e71-b6aa-f2edd6441cff" providerId="ADAL" clId="{3ACAA428-FEF0-4514-AF29-92C470E4ABE5}" dt="2021-06-25T18:34:01.212" v="1993"/>
          <ac:cxnSpMkLst>
            <pc:docMk/>
            <pc:sldMk cId="2574812304" sldId="294"/>
            <ac:cxnSpMk id="39" creationId="{FE467784-7005-4971-9C2C-F1C7C4D0528D}"/>
          </ac:cxnSpMkLst>
        </pc:cxnChg>
        <pc:cxnChg chg="add mod">
          <ac:chgData name="Aniket Chhabra" userId="598e0514-bef3-4e71-b6aa-f2edd6441cff" providerId="ADAL" clId="{3ACAA428-FEF0-4514-AF29-92C470E4ABE5}" dt="2021-06-25T18:34:01.212" v="1993"/>
          <ac:cxnSpMkLst>
            <pc:docMk/>
            <pc:sldMk cId="2574812304" sldId="294"/>
            <ac:cxnSpMk id="40" creationId="{1AE484DE-8874-4E0B-BBE2-0ACA9AF02BF0}"/>
          </ac:cxnSpMkLst>
        </pc:cxnChg>
        <pc:cxnChg chg="add mod">
          <ac:chgData name="Aniket Chhabra" userId="598e0514-bef3-4e71-b6aa-f2edd6441cff" providerId="ADAL" clId="{3ACAA428-FEF0-4514-AF29-92C470E4ABE5}" dt="2021-06-25T18:34:01.212" v="1993"/>
          <ac:cxnSpMkLst>
            <pc:docMk/>
            <pc:sldMk cId="2574812304" sldId="294"/>
            <ac:cxnSpMk id="45" creationId="{75EDB690-3CD0-4FF3-A435-D1ACE7A79DC7}"/>
          </ac:cxnSpMkLst>
        </pc:cxnChg>
      </pc:sldChg>
      <pc:sldChg chg="modSp add mod">
        <pc:chgData name="Aniket Chhabra" userId="598e0514-bef3-4e71-b6aa-f2edd6441cff" providerId="ADAL" clId="{3ACAA428-FEF0-4514-AF29-92C470E4ABE5}" dt="2021-06-26T03:19:24.615" v="3019"/>
        <pc:sldMkLst>
          <pc:docMk/>
          <pc:sldMk cId="2793972246" sldId="295"/>
        </pc:sldMkLst>
        <pc:spChg chg="mod">
          <ac:chgData name="Aniket Chhabra" userId="598e0514-bef3-4e71-b6aa-f2edd6441cff" providerId="ADAL" clId="{3ACAA428-FEF0-4514-AF29-92C470E4ABE5}" dt="2021-06-26T03:19:24.100" v="3017" actId="1036"/>
          <ac:spMkLst>
            <pc:docMk/>
            <pc:sldMk cId="2793972246" sldId="295"/>
            <ac:spMk id="283" creationId="{00000000-0000-0000-0000-000000000000}"/>
          </ac:spMkLst>
        </pc:spChg>
        <pc:graphicFrameChg chg="mod">
          <ac:chgData name="Aniket Chhabra" userId="598e0514-bef3-4e71-b6aa-f2edd6441cff" providerId="ADAL" clId="{3ACAA428-FEF0-4514-AF29-92C470E4ABE5}" dt="2021-06-26T03:19:24.615" v="3019"/>
          <ac:graphicFrameMkLst>
            <pc:docMk/>
            <pc:sldMk cId="2793972246" sldId="295"/>
            <ac:graphicFrameMk id="2" creationId="{31B3BF58-9D50-42DA-AB47-F79891CF17BA}"/>
          </ac:graphicFrameMkLst>
        </pc:graphicFrameChg>
      </pc:sldChg>
      <pc:sldChg chg="addSp delSp modSp add mod">
        <pc:chgData name="Aniket Chhabra" userId="598e0514-bef3-4e71-b6aa-f2edd6441cff" providerId="ADAL" clId="{3ACAA428-FEF0-4514-AF29-92C470E4ABE5}" dt="2021-06-26T08:49:51.921" v="3053"/>
        <pc:sldMkLst>
          <pc:docMk/>
          <pc:sldMk cId="4100885018" sldId="296"/>
        </pc:sldMkLst>
        <pc:spChg chg="mod">
          <ac:chgData name="Aniket Chhabra" userId="598e0514-bef3-4e71-b6aa-f2edd6441cff" providerId="ADAL" clId="{3ACAA428-FEF0-4514-AF29-92C470E4ABE5}" dt="2021-06-26T08:48:44.977" v="3025"/>
          <ac:spMkLst>
            <pc:docMk/>
            <pc:sldMk cId="4100885018" sldId="296"/>
            <ac:spMk id="7" creationId="{4069F79E-E888-44E7-880F-8D77CF12F569}"/>
          </ac:spMkLst>
        </pc:spChg>
        <pc:spChg chg="add mod">
          <ac:chgData name="Aniket Chhabra" userId="598e0514-bef3-4e71-b6aa-f2edd6441cff" providerId="ADAL" clId="{3ACAA428-FEF0-4514-AF29-92C470E4ABE5}" dt="2021-06-26T08:49:24.132" v="3033" actId="207"/>
          <ac:spMkLst>
            <pc:docMk/>
            <pc:sldMk cId="4100885018" sldId="296"/>
            <ac:spMk id="9" creationId="{E949A468-C4CA-46A2-B4CB-84D255554C8A}"/>
          </ac:spMkLst>
        </pc:spChg>
        <pc:spChg chg="add mod">
          <ac:chgData name="Aniket Chhabra" userId="598e0514-bef3-4e71-b6aa-f2edd6441cff" providerId="ADAL" clId="{3ACAA428-FEF0-4514-AF29-92C470E4ABE5}" dt="2021-06-26T08:49:37.351" v="3036" actId="1076"/>
          <ac:spMkLst>
            <pc:docMk/>
            <pc:sldMk cId="4100885018" sldId="296"/>
            <ac:spMk id="10" creationId="{7CB86217-CB81-44FC-A9F4-E89B98F4A0D0}"/>
          </ac:spMkLst>
        </pc:spChg>
        <pc:spChg chg="add mod">
          <ac:chgData name="Aniket Chhabra" userId="598e0514-bef3-4e71-b6aa-f2edd6441cff" providerId="ADAL" clId="{3ACAA428-FEF0-4514-AF29-92C470E4ABE5}" dt="2021-06-26T08:49:30.545" v="3034" actId="207"/>
          <ac:spMkLst>
            <pc:docMk/>
            <pc:sldMk cId="4100885018" sldId="296"/>
            <ac:spMk id="11" creationId="{B66DFDEB-89DA-4F86-96FD-000AB25876FB}"/>
          </ac:spMkLst>
        </pc:spChg>
        <pc:spChg chg="add mod">
          <ac:chgData name="Aniket Chhabra" userId="598e0514-bef3-4e71-b6aa-f2edd6441cff" providerId="ADAL" clId="{3ACAA428-FEF0-4514-AF29-92C470E4ABE5}" dt="2021-06-26T08:49:41.568" v="3037" actId="207"/>
          <ac:spMkLst>
            <pc:docMk/>
            <pc:sldMk cId="4100885018" sldId="296"/>
            <ac:spMk id="12" creationId="{49A8185B-98F6-46E9-A8B0-AAB1EB08E384}"/>
          </ac:spMkLst>
        </pc:spChg>
        <pc:spChg chg="del">
          <ac:chgData name="Aniket Chhabra" userId="598e0514-bef3-4e71-b6aa-f2edd6441cff" providerId="ADAL" clId="{3ACAA428-FEF0-4514-AF29-92C470E4ABE5}" dt="2021-06-26T08:48:42.386" v="3024" actId="478"/>
          <ac:spMkLst>
            <pc:docMk/>
            <pc:sldMk cId="4100885018" sldId="296"/>
            <ac:spMk id="13" creationId="{19395FA0-9498-4C5A-BC88-51CB36CF6F63}"/>
          </ac:spMkLst>
        </pc:spChg>
        <pc:spChg chg="mod">
          <ac:chgData name="Aniket Chhabra" userId="598e0514-bef3-4e71-b6aa-f2edd6441cff" providerId="ADAL" clId="{3ACAA428-FEF0-4514-AF29-92C470E4ABE5}" dt="2021-06-26T08:48:44.977" v="3025"/>
          <ac:spMkLst>
            <pc:docMk/>
            <pc:sldMk cId="4100885018" sldId="296"/>
            <ac:spMk id="15" creationId="{6C2F28D7-2C08-44A6-8DC7-2E8E84FE2189}"/>
          </ac:spMkLst>
        </pc:spChg>
        <pc:spChg chg="mod">
          <ac:chgData name="Aniket Chhabra" userId="598e0514-bef3-4e71-b6aa-f2edd6441cff" providerId="ADAL" clId="{3ACAA428-FEF0-4514-AF29-92C470E4ABE5}" dt="2021-06-26T08:48:44.977" v="3025"/>
          <ac:spMkLst>
            <pc:docMk/>
            <pc:sldMk cId="4100885018" sldId="296"/>
            <ac:spMk id="18" creationId="{0BAF5284-310F-4EC4-816D-2E60F5024DD0}"/>
          </ac:spMkLst>
        </pc:spChg>
        <pc:spChg chg="mod">
          <ac:chgData name="Aniket Chhabra" userId="598e0514-bef3-4e71-b6aa-f2edd6441cff" providerId="ADAL" clId="{3ACAA428-FEF0-4514-AF29-92C470E4ABE5}" dt="2021-06-26T08:48:44.977" v="3025"/>
          <ac:spMkLst>
            <pc:docMk/>
            <pc:sldMk cId="4100885018" sldId="296"/>
            <ac:spMk id="21" creationId="{3B6C4968-0A32-4B64-B089-B96A80CFDC6A}"/>
          </ac:spMkLst>
        </pc:spChg>
        <pc:spChg chg="mod">
          <ac:chgData name="Aniket Chhabra" userId="598e0514-bef3-4e71-b6aa-f2edd6441cff" providerId="ADAL" clId="{3ACAA428-FEF0-4514-AF29-92C470E4ABE5}" dt="2021-06-26T08:49:51.415" v="3051" actId="20577"/>
          <ac:spMkLst>
            <pc:docMk/>
            <pc:sldMk cId="4100885018" sldId="296"/>
            <ac:spMk id="283" creationId="{00000000-0000-0000-0000-000000000000}"/>
          </ac:spMkLst>
        </pc:spChg>
        <pc:grpChg chg="add mod">
          <ac:chgData name="Aniket Chhabra" userId="598e0514-bef3-4e71-b6aa-f2edd6441cff" providerId="ADAL" clId="{3ACAA428-FEF0-4514-AF29-92C470E4ABE5}" dt="2021-06-26T08:48:59.283" v="3027" actId="14100"/>
          <ac:grpSpMkLst>
            <pc:docMk/>
            <pc:sldMk cId="4100885018" sldId="296"/>
            <ac:grpSpMk id="6" creationId="{50D9A1C0-AA01-48AB-9577-B21A06EB3ABF}"/>
          </ac:grpSpMkLst>
        </pc:grpChg>
        <pc:grpChg chg="add mod">
          <ac:chgData name="Aniket Chhabra" userId="598e0514-bef3-4e71-b6aa-f2edd6441cff" providerId="ADAL" clId="{3ACAA428-FEF0-4514-AF29-92C470E4ABE5}" dt="2021-06-26T08:48:59.283" v="3027" actId="14100"/>
          <ac:grpSpMkLst>
            <pc:docMk/>
            <pc:sldMk cId="4100885018" sldId="296"/>
            <ac:grpSpMk id="14" creationId="{B5B5864D-05B9-413C-BED1-D6B1C5728D66}"/>
          </ac:grpSpMkLst>
        </pc:grpChg>
        <pc:grpChg chg="add mod">
          <ac:chgData name="Aniket Chhabra" userId="598e0514-bef3-4e71-b6aa-f2edd6441cff" providerId="ADAL" clId="{3ACAA428-FEF0-4514-AF29-92C470E4ABE5}" dt="2021-06-26T08:48:59.283" v="3027" actId="14100"/>
          <ac:grpSpMkLst>
            <pc:docMk/>
            <pc:sldMk cId="4100885018" sldId="296"/>
            <ac:grpSpMk id="17" creationId="{277C2604-2484-4CB4-B7E2-0D713360CDC5}"/>
          </ac:grpSpMkLst>
        </pc:grpChg>
        <pc:grpChg chg="add mod">
          <ac:chgData name="Aniket Chhabra" userId="598e0514-bef3-4e71-b6aa-f2edd6441cff" providerId="ADAL" clId="{3ACAA428-FEF0-4514-AF29-92C470E4ABE5}" dt="2021-06-26T08:48:59.283" v="3027" actId="14100"/>
          <ac:grpSpMkLst>
            <pc:docMk/>
            <pc:sldMk cId="4100885018" sldId="296"/>
            <ac:grpSpMk id="20" creationId="{3223817B-4773-4E2C-8BA7-B805139D0373}"/>
          </ac:grpSpMkLst>
        </pc:grpChg>
        <pc:graphicFrameChg chg="mod">
          <ac:chgData name="Aniket Chhabra" userId="598e0514-bef3-4e71-b6aa-f2edd6441cff" providerId="ADAL" clId="{3ACAA428-FEF0-4514-AF29-92C470E4ABE5}" dt="2021-06-26T08:49:51.921" v="3053"/>
          <ac:graphicFrameMkLst>
            <pc:docMk/>
            <pc:sldMk cId="4100885018" sldId="296"/>
            <ac:graphicFrameMk id="2" creationId="{5B82FCD9-9CF2-4596-B7F0-B7DA49EDB465}"/>
          </ac:graphicFrameMkLst>
        </pc:graphicFrameChg>
        <pc:cxnChg chg="add mod">
          <ac:chgData name="Aniket Chhabra" userId="598e0514-bef3-4e71-b6aa-f2edd6441cff" providerId="ADAL" clId="{3ACAA428-FEF0-4514-AF29-92C470E4ABE5}" dt="2021-06-26T08:48:59.283" v="3027" actId="14100"/>
          <ac:cxnSpMkLst>
            <pc:docMk/>
            <pc:sldMk cId="4100885018" sldId="296"/>
            <ac:cxnSpMk id="5" creationId="{229DA866-72D7-4DCF-914A-8E3E64604BB9}"/>
          </ac:cxnSpMkLst>
        </pc:cxnChg>
        <pc:cxnChg chg="mod">
          <ac:chgData name="Aniket Chhabra" userId="598e0514-bef3-4e71-b6aa-f2edd6441cff" providerId="ADAL" clId="{3ACAA428-FEF0-4514-AF29-92C470E4ABE5}" dt="2021-06-26T08:48:44.977" v="3025"/>
          <ac:cxnSpMkLst>
            <pc:docMk/>
            <pc:sldMk cId="4100885018" sldId="296"/>
            <ac:cxnSpMk id="8" creationId="{0B4FFB84-229F-4300-AE2F-9CF1C40045D7}"/>
          </ac:cxnSpMkLst>
        </pc:cxnChg>
        <pc:cxnChg chg="mod">
          <ac:chgData name="Aniket Chhabra" userId="598e0514-bef3-4e71-b6aa-f2edd6441cff" providerId="ADAL" clId="{3ACAA428-FEF0-4514-AF29-92C470E4ABE5}" dt="2021-06-26T08:48:44.977" v="3025"/>
          <ac:cxnSpMkLst>
            <pc:docMk/>
            <pc:sldMk cId="4100885018" sldId="296"/>
            <ac:cxnSpMk id="16" creationId="{D4119FCA-09FE-4448-879F-8C5C710FA4B2}"/>
          </ac:cxnSpMkLst>
        </pc:cxnChg>
        <pc:cxnChg chg="mod">
          <ac:chgData name="Aniket Chhabra" userId="598e0514-bef3-4e71-b6aa-f2edd6441cff" providerId="ADAL" clId="{3ACAA428-FEF0-4514-AF29-92C470E4ABE5}" dt="2021-06-26T08:48:44.977" v="3025"/>
          <ac:cxnSpMkLst>
            <pc:docMk/>
            <pc:sldMk cId="4100885018" sldId="296"/>
            <ac:cxnSpMk id="19" creationId="{D3C3E914-1CA6-4C26-BF31-01BBD906E89B}"/>
          </ac:cxnSpMkLst>
        </pc:cxnChg>
        <pc:cxnChg chg="mod">
          <ac:chgData name="Aniket Chhabra" userId="598e0514-bef3-4e71-b6aa-f2edd6441cff" providerId="ADAL" clId="{3ACAA428-FEF0-4514-AF29-92C470E4ABE5}" dt="2021-06-26T08:48:44.977" v="3025"/>
          <ac:cxnSpMkLst>
            <pc:docMk/>
            <pc:sldMk cId="4100885018" sldId="296"/>
            <ac:cxnSpMk id="22" creationId="{DC4694C9-F897-41E4-8E48-1AE9C023DAA4}"/>
          </ac:cxnSpMkLst>
        </pc:cxnChg>
      </pc:sldChg>
      <pc:sldMasterChg chg="del delSldLayout">
        <pc:chgData name="Aniket Chhabra" userId="598e0514-bef3-4e71-b6aa-f2edd6441cff" providerId="ADAL" clId="{3ACAA428-FEF0-4514-AF29-92C470E4ABE5}" dt="2021-06-25T12:03:42.610" v="0" actId="47"/>
        <pc:sldMasterMkLst>
          <pc:docMk/>
          <pc:sldMasterMk cId="4213071439" sldId="2147483648"/>
        </pc:sldMasterMkLst>
        <pc:sldLayoutChg chg="del">
          <pc:chgData name="Aniket Chhabra" userId="598e0514-bef3-4e71-b6aa-f2edd6441cff" providerId="ADAL" clId="{3ACAA428-FEF0-4514-AF29-92C470E4ABE5}" dt="2021-06-25T12:03:42.610" v="0" actId="47"/>
          <pc:sldLayoutMkLst>
            <pc:docMk/>
            <pc:sldMasterMk cId="4213071439" sldId="2147483648"/>
            <pc:sldLayoutMk cId="1840454310" sldId="2147483649"/>
          </pc:sldLayoutMkLst>
        </pc:sldLayoutChg>
        <pc:sldLayoutChg chg="del">
          <pc:chgData name="Aniket Chhabra" userId="598e0514-bef3-4e71-b6aa-f2edd6441cff" providerId="ADAL" clId="{3ACAA428-FEF0-4514-AF29-92C470E4ABE5}" dt="2021-06-25T12:03:42.610" v="0" actId="47"/>
          <pc:sldLayoutMkLst>
            <pc:docMk/>
            <pc:sldMasterMk cId="4213071439" sldId="2147483648"/>
            <pc:sldLayoutMk cId="468680918" sldId="2147483650"/>
          </pc:sldLayoutMkLst>
        </pc:sldLayoutChg>
        <pc:sldLayoutChg chg="del">
          <pc:chgData name="Aniket Chhabra" userId="598e0514-bef3-4e71-b6aa-f2edd6441cff" providerId="ADAL" clId="{3ACAA428-FEF0-4514-AF29-92C470E4ABE5}" dt="2021-06-25T12:03:42.610" v="0" actId="47"/>
          <pc:sldLayoutMkLst>
            <pc:docMk/>
            <pc:sldMasterMk cId="4213071439" sldId="2147483648"/>
            <pc:sldLayoutMk cId="3095510064" sldId="2147483651"/>
          </pc:sldLayoutMkLst>
        </pc:sldLayoutChg>
        <pc:sldLayoutChg chg="del">
          <pc:chgData name="Aniket Chhabra" userId="598e0514-bef3-4e71-b6aa-f2edd6441cff" providerId="ADAL" clId="{3ACAA428-FEF0-4514-AF29-92C470E4ABE5}" dt="2021-06-25T12:03:42.610" v="0" actId="47"/>
          <pc:sldLayoutMkLst>
            <pc:docMk/>
            <pc:sldMasterMk cId="4213071439" sldId="2147483648"/>
            <pc:sldLayoutMk cId="1679439145" sldId="2147483652"/>
          </pc:sldLayoutMkLst>
        </pc:sldLayoutChg>
        <pc:sldLayoutChg chg="del">
          <pc:chgData name="Aniket Chhabra" userId="598e0514-bef3-4e71-b6aa-f2edd6441cff" providerId="ADAL" clId="{3ACAA428-FEF0-4514-AF29-92C470E4ABE5}" dt="2021-06-25T12:03:42.610" v="0" actId="47"/>
          <pc:sldLayoutMkLst>
            <pc:docMk/>
            <pc:sldMasterMk cId="4213071439" sldId="2147483648"/>
            <pc:sldLayoutMk cId="2159481606" sldId="2147483653"/>
          </pc:sldLayoutMkLst>
        </pc:sldLayoutChg>
        <pc:sldLayoutChg chg="del">
          <pc:chgData name="Aniket Chhabra" userId="598e0514-bef3-4e71-b6aa-f2edd6441cff" providerId="ADAL" clId="{3ACAA428-FEF0-4514-AF29-92C470E4ABE5}" dt="2021-06-25T12:03:42.610" v="0" actId="47"/>
          <pc:sldLayoutMkLst>
            <pc:docMk/>
            <pc:sldMasterMk cId="4213071439" sldId="2147483648"/>
            <pc:sldLayoutMk cId="1386064127" sldId="2147483654"/>
          </pc:sldLayoutMkLst>
        </pc:sldLayoutChg>
        <pc:sldLayoutChg chg="del">
          <pc:chgData name="Aniket Chhabra" userId="598e0514-bef3-4e71-b6aa-f2edd6441cff" providerId="ADAL" clId="{3ACAA428-FEF0-4514-AF29-92C470E4ABE5}" dt="2021-06-25T12:03:42.610" v="0" actId="47"/>
          <pc:sldLayoutMkLst>
            <pc:docMk/>
            <pc:sldMasterMk cId="4213071439" sldId="2147483648"/>
            <pc:sldLayoutMk cId="180638390" sldId="2147483655"/>
          </pc:sldLayoutMkLst>
        </pc:sldLayoutChg>
        <pc:sldLayoutChg chg="del">
          <pc:chgData name="Aniket Chhabra" userId="598e0514-bef3-4e71-b6aa-f2edd6441cff" providerId="ADAL" clId="{3ACAA428-FEF0-4514-AF29-92C470E4ABE5}" dt="2021-06-25T12:03:42.610" v="0" actId="47"/>
          <pc:sldLayoutMkLst>
            <pc:docMk/>
            <pc:sldMasterMk cId="4213071439" sldId="2147483648"/>
            <pc:sldLayoutMk cId="1434609109" sldId="2147483656"/>
          </pc:sldLayoutMkLst>
        </pc:sldLayoutChg>
        <pc:sldLayoutChg chg="del">
          <pc:chgData name="Aniket Chhabra" userId="598e0514-bef3-4e71-b6aa-f2edd6441cff" providerId="ADAL" clId="{3ACAA428-FEF0-4514-AF29-92C470E4ABE5}" dt="2021-06-25T12:03:42.610" v="0" actId="47"/>
          <pc:sldLayoutMkLst>
            <pc:docMk/>
            <pc:sldMasterMk cId="4213071439" sldId="2147483648"/>
            <pc:sldLayoutMk cId="687847863" sldId="2147483657"/>
          </pc:sldLayoutMkLst>
        </pc:sldLayoutChg>
        <pc:sldLayoutChg chg="del">
          <pc:chgData name="Aniket Chhabra" userId="598e0514-bef3-4e71-b6aa-f2edd6441cff" providerId="ADAL" clId="{3ACAA428-FEF0-4514-AF29-92C470E4ABE5}" dt="2021-06-25T12:03:42.610" v="0" actId="47"/>
          <pc:sldLayoutMkLst>
            <pc:docMk/>
            <pc:sldMasterMk cId="4213071439" sldId="2147483648"/>
            <pc:sldLayoutMk cId="3833712186" sldId="2147483658"/>
          </pc:sldLayoutMkLst>
        </pc:sldLayoutChg>
        <pc:sldLayoutChg chg="del">
          <pc:chgData name="Aniket Chhabra" userId="598e0514-bef3-4e71-b6aa-f2edd6441cff" providerId="ADAL" clId="{3ACAA428-FEF0-4514-AF29-92C470E4ABE5}" dt="2021-06-25T12:03:42.610" v="0" actId="47"/>
          <pc:sldLayoutMkLst>
            <pc:docMk/>
            <pc:sldMasterMk cId="4213071439" sldId="2147483648"/>
            <pc:sldLayoutMk cId="3118604941" sldId="2147483659"/>
          </pc:sldLayoutMkLst>
        </pc:sldLayoutChg>
      </pc:sldMasterChg>
      <pc:sldMasterChg chg="delSldLayout">
        <pc:chgData name="Aniket Chhabra" userId="598e0514-bef3-4e71-b6aa-f2edd6441cff" providerId="ADAL" clId="{3ACAA428-FEF0-4514-AF29-92C470E4ABE5}" dt="2021-06-25T18:45:40.135" v="2391" actId="2696"/>
        <pc:sldMasterMkLst>
          <pc:docMk/>
          <pc:sldMasterMk cId="576768822" sldId="2147483660"/>
        </pc:sldMasterMkLst>
        <pc:sldLayoutChg chg="del">
          <pc:chgData name="Aniket Chhabra" userId="598e0514-bef3-4e71-b6aa-f2edd6441cff" providerId="ADAL" clId="{3ACAA428-FEF0-4514-AF29-92C470E4ABE5}" dt="2021-06-25T18:30:13.893" v="1980" actId="47"/>
          <pc:sldLayoutMkLst>
            <pc:docMk/>
            <pc:sldMasterMk cId="576768822" sldId="2147483660"/>
            <pc:sldLayoutMk cId="3006874633" sldId="2147483662"/>
          </pc:sldLayoutMkLst>
        </pc:sldLayoutChg>
        <pc:sldLayoutChg chg="del">
          <pc:chgData name="Aniket Chhabra" userId="598e0514-bef3-4e71-b6aa-f2edd6441cff" providerId="ADAL" clId="{3ACAA428-FEF0-4514-AF29-92C470E4ABE5}" dt="2021-06-25T18:45:40.135" v="2391" actId="2696"/>
          <pc:sldLayoutMkLst>
            <pc:docMk/>
            <pc:sldMasterMk cId="576768822" sldId="2147483660"/>
            <pc:sldLayoutMk cId="187959569" sldId="214748366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92AD82-4F68-4911-9D16-437F08A87485}" type="datetimeFigureOut">
              <a:rPr lang="en-US" smtClean="0"/>
              <a:t>4/30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954CA3-313B-45B8-B44A-19A6B21BA1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799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Google Shape;274;gcb9a0b074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5" name="Google Shape;275;gcb9a0b074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ge11e079f70_0_5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1" name="Google Shape;281;ge11e079f70_0_5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preparing-your-data-science-resume-portfolio-22af6bada8b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5-things-to-consider-in-a-data-science-masters-degree-48a84028959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nyudatascience.medium.com/a-message-from-master-in-the-making-sree-govindaprasad-3f282c5ff297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was-it-worth-studying-a-data-science-masters-c469e5b3e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411289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ge11e079f70_0_5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1" name="Google Shape;281;ge11e079f70_0_5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preparing-your-data-science-resume-portfolio-22af6bada8b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5-things-to-consider-in-a-data-science-masters-degree-48a84028959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nyudatascience.medium.com/a-message-from-master-in-the-making-sree-govindaprasad-3f282c5ff297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was-it-worth-studying-a-data-science-masters-c469e5b3e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22481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ge11e079f70_0_5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1" name="Google Shape;281;ge11e079f70_0_5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preparing-your-data-science-resume-portfolio-22af6bada8b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5-things-to-consider-in-a-data-science-masters-degree-48a84028959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nyudatascience.medium.com/a-message-from-master-in-the-making-sree-govindaprasad-3f282c5ff297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was-it-worth-studying-a-data-science-masters-c469e5b3e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456348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ge11e079f70_0_5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1" name="Google Shape;281;ge11e079f70_0_5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preparing-your-data-science-resume-portfolio-22af6bada8b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5-things-to-consider-in-a-data-science-masters-degree-48a84028959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nyudatascience.medium.com/a-message-from-master-in-the-making-sree-govindaprasad-3f282c5ff297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was-it-worth-studying-a-data-science-masters-c469e5b3e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01140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ge11e079f70_0_5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1" name="Google Shape;281;ge11e079f70_0_5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preparing-your-data-science-resume-portfolio-22af6bada8b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5-things-to-consider-in-a-data-science-masters-degree-48a84028959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nyudatascience.medium.com/a-message-from-master-in-the-making-sree-govindaprasad-3f282c5ff297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was-it-worth-studying-a-data-science-masters-c469e5b3e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455991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ge11e079f70_0_5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1" name="Google Shape;281;ge11e079f70_0_5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preparing-your-data-science-resume-portfolio-22af6bada8b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5-things-to-consider-in-a-data-science-masters-degree-48a84028959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nyudatascience.medium.com/a-message-from-master-in-the-making-sree-govindaprasad-3f282c5ff297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was-it-worth-studying-a-data-science-masters-c469e5b3e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44962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ge11e079f70_0_5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1" name="Google Shape;281;ge11e079f70_0_5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preparing-your-data-science-resume-portfolio-22af6bada8b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5-things-to-consider-in-a-data-science-masters-degree-48a84028959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nyudatascience.medium.com/a-message-from-master-in-the-making-sree-govindaprasad-3f282c5ff297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was-it-worth-studying-a-data-science-masters-c469e5b3e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64128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ge11e079f70_0_5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1" name="Google Shape;281;ge11e079f70_0_5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preparing-your-data-science-resume-portfolio-22af6bada8b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5-things-to-consider-in-a-data-science-masters-degree-48a84028959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nyudatascience.medium.com/a-message-from-master-in-the-making-sree-govindaprasad-3f282c5ff297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was-it-worth-studying-a-data-science-masters-c469e5b3e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63897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ge11e079f70_0_5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1" name="Google Shape;281;ge11e079f70_0_5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preparing-your-data-science-resume-portfolio-22af6bada8b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5-things-to-consider-in-a-data-science-masters-degree-48a84028959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nyudatascience.medium.com/a-message-from-master-in-the-making-sree-govindaprasad-3f282c5ff297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was-it-worth-studying-a-data-science-masters-c469e5b3e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53525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ge11e079f70_0_5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1" name="Google Shape;281;ge11e079f70_0_5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preparing-your-data-science-resume-portfolio-22af6bada8b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5-things-to-consider-in-a-data-science-masters-degree-48a84028959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nyudatascience.medium.com/a-message-from-master-in-the-making-sree-govindaprasad-3f282c5ff297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was-it-worth-studying-a-data-science-masters-c469e5b3e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10877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Google Shape;287;ge11e079f70_0_5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8" name="Google Shape;288;ge11e079f70_0_5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en-US" dirty="0"/>
              <a:t>https://medium.com/@jasonkgoodman/advice-on-applying-to-data-science-jobs-6e62b25518e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en-US" dirty="0"/>
              <a:t>https://m.signalvnoise.com/practical-skills-that-practical-data-scientists-need/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ge11e079f70_0_5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1" name="Google Shape;281;ge11e079f70_0_5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preparing-your-data-science-resume-portfolio-22af6bada8b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5-things-to-consider-in-a-data-science-masters-degree-48a84028959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nyudatascience.medium.com/a-message-from-master-in-the-making-sree-govindaprasad-3f282c5ff297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towardsdatascience.com/was-it-worth-studying-a-data-science-masters-c469e5b3e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70942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bg>
      <p:bgPr>
        <a:solidFill>
          <a:schemeClr val="accent3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oogle Shape;10;p2"/>
          <p:cNvGrpSpPr/>
          <p:nvPr/>
        </p:nvGrpSpPr>
        <p:grpSpPr>
          <a:xfrm>
            <a:off x="9790671" y="4546233"/>
            <a:ext cx="2255229" cy="2310064"/>
            <a:chOff x="7343003" y="3409675"/>
            <a:chExt cx="1691422" cy="1732548"/>
          </a:xfrm>
        </p:grpSpPr>
        <p:grpSp>
          <p:nvGrpSpPr>
            <p:cNvPr id="11" name="Google Shape;11;p2"/>
            <p:cNvGrpSpPr/>
            <p:nvPr/>
          </p:nvGrpSpPr>
          <p:grpSpPr>
            <a:xfrm>
              <a:off x="7343003" y="4453711"/>
              <a:ext cx="316800" cy="688513"/>
              <a:chOff x="7343003" y="4453711"/>
              <a:chExt cx="316800" cy="688513"/>
            </a:xfrm>
          </p:grpSpPr>
          <p:sp>
            <p:nvSpPr>
              <p:cNvPr id="12" name="Google Shape;12;p2"/>
              <p:cNvSpPr/>
              <p:nvPr/>
            </p:nvSpPr>
            <p:spPr>
              <a:xfrm>
                <a:off x="7343003" y="4453711"/>
                <a:ext cx="316800" cy="688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3" name="Google Shape;13;p2"/>
              <p:cNvSpPr/>
              <p:nvPr/>
            </p:nvSpPr>
            <p:spPr>
              <a:xfrm>
                <a:off x="7343003" y="4801723"/>
                <a:ext cx="316800" cy="34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4" name="Google Shape;14;p2"/>
            <p:cNvGrpSpPr/>
            <p:nvPr/>
          </p:nvGrpSpPr>
          <p:grpSpPr>
            <a:xfrm>
              <a:off x="7801210" y="4105700"/>
              <a:ext cx="316800" cy="1036523"/>
              <a:chOff x="7801210" y="4105700"/>
              <a:chExt cx="316800" cy="1036523"/>
            </a:xfrm>
          </p:grpSpPr>
          <p:sp>
            <p:nvSpPr>
              <p:cNvPr id="15" name="Google Shape;15;p2"/>
              <p:cNvSpPr/>
              <p:nvPr/>
            </p:nvSpPr>
            <p:spPr>
              <a:xfrm>
                <a:off x="7801210" y="4453711"/>
                <a:ext cx="316800" cy="688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6" name="Google Shape;16;p2"/>
              <p:cNvSpPr/>
              <p:nvPr/>
            </p:nvSpPr>
            <p:spPr>
              <a:xfrm>
                <a:off x="7801210" y="4105700"/>
                <a:ext cx="316800" cy="1036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7" name="Google Shape;17;p2"/>
              <p:cNvSpPr/>
              <p:nvPr/>
            </p:nvSpPr>
            <p:spPr>
              <a:xfrm>
                <a:off x="7801210" y="4801723"/>
                <a:ext cx="316800" cy="34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8" name="Google Shape;18;p2"/>
            <p:cNvGrpSpPr/>
            <p:nvPr/>
          </p:nvGrpSpPr>
          <p:grpSpPr>
            <a:xfrm>
              <a:off x="8259418" y="3757688"/>
              <a:ext cx="316800" cy="1384535"/>
              <a:chOff x="8259418" y="3757688"/>
              <a:chExt cx="316800" cy="1384535"/>
            </a:xfrm>
          </p:grpSpPr>
          <p:sp>
            <p:nvSpPr>
              <p:cNvPr id="19" name="Google Shape;19;p2"/>
              <p:cNvSpPr/>
              <p:nvPr/>
            </p:nvSpPr>
            <p:spPr>
              <a:xfrm>
                <a:off x="8259418" y="4453711"/>
                <a:ext cx="316800" cy="688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" name="Google Shape;20;p2"/>
              <p:cNvSpPr/>
              <p:nvPr/>
            </p:nvSpPr>
            <p:spPr>
              <a:xfrm>
                <a:off x="8259418" y="3757688"/>
                <a:ext cx="316800" cy="1384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1" name="Google Shape;21;p2"/>
              <p:cNvSpPr/>
              <p:nvPr/>
            </p:nvSpPr>
            <p:spPr>
              <a:xfrm>
                <a:off x="8259418" y="4105700"/>
                <a:ext cx="316800" cy="1036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" name="Google Shape;22;p2"/>
              <p:cNvSpPr/>
              <p:nvPr/>
            </p:nvSpPr>
            <p:spPr>
              <a:xfrm>
                <a:off x="8259418" y="4801723"/>
                <a:ext cx="316800" cy="34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3" name="Google Shape;23;p2"/>
            <p:cNvGrpSpPr/>
            <p:nvPr/>
          </p:nvGrpSpPr>
          <p:grpSpPr>
            <a:xfrm>
              <a:off x="8717625" y="3409675"/>
              <a:ext cx="316800" cy="1732548"/>
              <a:chOff x="8717625" y="3409675"/>
              <a:chExt cx="316800" cy="1732548"/>
            </a:xfrm>
          </p:grpSpPr>
          <p:sp>
            <p:nvSpPr>
              <p:cNvPr id="24" name="Google Shape;24;p2"/>
              <p:cNvSpPr/>
              <p:nvPr/>
            </p:nvSpPr>
            <p:spPr>
              <a:xfrm>
                <a:off x="8717625" y="4453711"/>
                <a:ext cx="316800" cy="688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5" name="Google Shape;25;p2"/>
              <p:cNvSpPr/>
              <p:nvPr/>
            </p:nvSpPr>
            <p:spPr>
              <a:xfrm>
                <a:off x="8717625" y="3757688"/>
                <a:ext cx="316800" cy="1384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6" name="Google Shape;26;p2"/>
              <p:cNvSpPr/>
              <p:nvPr/>
            </p:nvSpPr>
            <p:spPr>
              <a:xfrm>
                <a:off x="8717625" y="4105700"/>
                <a:ext cx="316800" cy="1036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7" name="Google Shape;27;p2"/>
              <p:cNvSpPr/>
              <p:nvPr/>
            </p:nvSpPr>
            <p:spPr>
              <a:xfrm>
                <a:off x="8717625" y="3409675"/>
                <a:ext cx="316800" cy="1732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8" name="Google Shape;28;p2"/>
              <p:cNvSpPr/>
              <p:nvPr/>
            </p:nvSpPr>
            <p:spPr>
              <a:xfrm>
                <a:off x="8717625" y="4801723"/>
                <a:ext cx="316800" cy="34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</p:grpSp>
      <p:grpSp>
        <p:nvGrpSpPr>
          <p:cNvPr id="29" name="Google Shape;29;p2"/>
          <p:cNvGrpSpPr/>
          <p:nvPr/>
        </p:nvGrpSpPr>
        <p:grpSpPr>
          <a:xfrm>
            <a:off x="6724671" y="0"/>
            <a:ext cx="5085429" cy="5118803"/>
            <a:chOff x="5043503" y="0"/>
            <a:chExt cx="3814072" cy="3839102"/>
          </a:xfrm>
        </p:grpSpPr>
        <p:sp>
          <p:nvSpPr>
            <p:cNvPr id="30" name="Google Shape;30;p2"/>
            <p:cNvSpPr/>
            <p:nvPr/>
          </p:nvSpPr>
          <p:spPr>
            <a:xfrm>
              <a:off x="8460975" y="1817775"/>
              <a:ext cx="396600" cy="396600"/>
            </a:xfrm>
            <a:prstGeom prst="ellipse">
              <a:avLst/>
            </a:prstGeom>
            <a:solidFill>
              <a:schemeClr val="lt1">
                <a:alpha val="94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" name="Google Shape;31;p2"/>
            <p:cNvSpPr/>
            <p:nvPr/>
          </p:nvSpPr>
          <p:spPr>
            <a:xfrm rot="-9830444">
              <a:off x="6469759" y="3480728"/>
              <a:ext cx="320148" cy="320148"/>
            </a:xfrm>
            <a:prstGeom prst="ellipse">
              <a:avLst/>
            </a:prstGeom>
            <a:solidFill>
              <a:schemeClr val="lt1">
                <a:alpha val="94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grpSp>
          <p:nvGrpSpPr>
            <p:cNvPr id="32" name="Google Shape;32;p2"/>
            <p:cNvGrpSpPr/>
            <p:nvPr/>
          </p:nvGrpSpPr>
          <p:grpSpPr>
            <a:xfrm>
              <a:off x="7647812" y="2704283"/>
              <a:ext cx="635219" cy="635219"/>
              <a:chOff x="6725724" y="2701260"/>
              <a:chExt cx="1208101" cy="1208100"/>
            </a:xfrm>
          </p:grpSpPr>
          <p:sp>
            <p:nvSpPr>
              <p:cNvPr id="33" name="Google Shape;33;p2"/>
              <p:cNvSpPr/>
              <p:nvPr/>
            </p:nvSpPr>
            <p:spPr>
              <a:xfrm rot="5400000">
                <a:off x="6725725" y="2701260"/>
                <a:ext cx="1208100" cy="1208100"/>
              </a:xfrm>
              <a:prstGeom prst="ellipse">
                <a:avLst/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4" name="Google Shape;34;p2"/>
              <p:cNvSpPr/>
              <p:nvPr/>
            </p:nvSpPr>
            <p:spPr>
              <a:xfrm rot="5400000">
                <a:off x="6725724" y="2701260"/>
                <a:ext cx="1208100" cy="1208100"/>
              </a:xfrm>
              <a:prstGeom prst="pie">
                <a:avLst>
                  <a:gd name="adj1" fmla="val 8244818"/>
                  <a:gd name="adj2" fmla="val 16246175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5" name="Google Shape;35;p2"/>
              <p:cNvSpPr/>
              <p:nvPr/>
            </p:nvSpPr>
            <p:spPr>
              <a:xfrm rot="5400000">
                <a:off x="6954988" y="2930398"/>
                <a:ext cx="749700" cy="749700"/>
              </a:xfrm>
              <a:prstGeom prst="ellipse">
                <a:avLst/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36" name="Google Shape;36;p2"/>
            <p:cNvSpPr/>
            <p:nvPr/>
          </p:nvSpPr>
          <p:spPr>
            <a:xfrm>
              <a:off x="8460975" y="1817775"/>
              <a:ext cx="396600" cy="396600"/>
            </a:xfrm>
            <a:prstGeom prst="pie">
              <a:avLst>
                <a:gd name="adj1" fmla="val 19376841"/>
                <a:gd name="adj2" fmla="val 16200000"/>
              </a:avLst>
            </a:prstGeom>
            <a:solidFill>
              <a:schemeClr val="lt1">
                <a:alpha val="94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grpSp>
          <p:nvGrpSpPr>
            <p:cNvPr id="37" name="Google Shape;37;p2"/>
            <p:cNvGrpSpPr/>
            <p:nvPr/>
          </p:nvGrpSpPr>
          <p:grpSpPr>
            <a:xfrm>
              <a:off x="7952720" y="179238"/>
              <a:ext cx="873165" cy="873003"/>
              <a:chOff x="7754428" y="208725"/>
              <a:chExt cx="541800" cy="541800"/>
            </a:xfrm>
          </p:grpSpPr>
          <p:sp>
            <p:nvSpPr>
              <p:cNvPr id="38" name="Google Shape;38;p2"/>
              <p:cNvSpPr/>
              <p:nvPr/>
            </p:nvSpPr>
            <p:spPr>
              <a:xfrm rot="-8647347">
                <a:off x="7831319" y="285616"/>
                <a:ext cx="388018" cy="388018"/>
              </a:xfrm>
              <a:prstGeom prst="ellipse">
                <a:avLst/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9" name="Google Shape;39;p2"/>
              <p:cNvSpPr/>
              <p:nvPr/>
            </p:nvSpPr>
            <p:spPr>
              <a:xfrm rot="-8647347">
                <a:off x="7831319" y="285616"/>
                <a:ext cx="388018" cy="388018"/>
              </a:xfrm>
              <a:prstGeom prst="pie">
                <a:avLst>
                  <a:gd name="adj1" fmla="val 19376841"/>
                  <a:gd name="adj2" fmla="val 12313574"/>
                </a:avLst>
              </a:prstGeom>
              <a:solidFill>
                <a:schemeClr val="lt1">
                  <a:alpha val="941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40" name="Google Shape;40;p2"/>
            <p:cNvSpPr/>
            <p:nvPr/>
          </p:nvSpPr>
          <p:spPr>
            <a:xfrm>
              <a:off x="5399840" y="356365"/>
              <a:ext cx="2577000" cy="2577000"/>
            </a:xfrm>
            <a:prstGeom prst="ellipse">
              <a:avLst/>
            </a:prstGeom>
            <a:solidFill>
              <a:schemeClr val="lt1">
                <a:alpha val="94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1" name="Google Shape;41;p2"/>
            <p:cNvSpPr/>
            <p:nvPr/>
          </p:nvSpPr>
          <p:spPr>
            <a:xfrm rot="2043858">
              <a:off x="5503813" y="460310"/>
              <a:ext cx="2369480" cy="2369480"/>
            </a:xfrm>
            <a:prstGeom prst="ellipse">
              <a:avLst/>
            </a:prstGeom>
            <a:solidFill>
              <a:schemeClr val="lt1">
                <a:alpha val="94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2" name="Google Shape;42;p2"/>
            <p:cNvSpPr/>
            <p:nvPr/>
          </p:nvSpPr>
          <p:spPr>
            <a:xfrm>
              <a:off x="5399795" y="360281"/>
              <a:ext cx="2577000" cy="2577000"/>
            </a:xfrm>
            <a:prstGeom prst="pie">
              <a:avLst>
                <a:gd name="adj1" fmla="val 8801158"/>
                <a:gd name="adj2" fmla="val 16200000"/>
              </a:avLst>
            </a:prstGeom>
            <a:solidFill>
              <a:schemeClr val="lt1">
                <a:alpha val="94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3" name="Google Shape;43;p2"/>
            <p:cNvSpPr/>
            <p:nvPr/>
          </p:nvSpPr>
          <p:spPr>
            <a:xfrm rot="2044777">
              <a:off x="5911449" y="867729"/>
              <a:ext cx="1554223" cy="155422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4" name="Google Shape;44;p2"/>
            <p:cNvSpPr/>
            <p:nvPr/>
          </p:nvSpPr>
          <p:spPr>
            <a:xfrm>
              <a:off x="5399795" y="356358"/>
              <a:ext cx="2577000" cy="2577000"/>
            </a:xfrm>
            <a:prstGeom prst="pie">
              <a:avLst>
                <a:gd name="adj1" fmla="val 12554101"/>
                <a:gd name="adj2" fmla="val 16200000"/>
              </a:avLst>
            </a:prstGeom>
            <a:solidFill>
              <a:schemeClr val="lt1">
                <a:alpha val="94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45" name="Google Shape;45;p2"/>
            <p:cNvSpPr/>
            <p:nvPr/>
          </p:nvSpPr>
          <p:spPr>
            <a:xfrm rot="-9830444">
              <a:off x="6469759" y="3480727"/>
              <a:ext cx="320148" cy="320148"/>
            </a:xfrm>
            <a:prstGeom prst="pie">
              <a:avLst>
                <a:gd name="adj1" fmla="val 19376841"/>
                <a:gd name="adj2" fmla="val 16200000"/>
              </a:avLst>
            </a:prstGeom>
            <a:solidFill>
              <a:schemeClr val="lt1">
                <a:alpha val="94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46" name="Google Shape;46;p2"/>
          <p:cNvSpPr txBox="1">
            <a:spLocks noGrp="1"/>
          </p:cNvSpPr>
          <p:nvPr>
            <p:ph type="ctrTitle"/>
          </p:nvPr>
        </p:nvSpPr>
        <p:spPr>
          <a:xfrm>
            <a:off x="1098667" y="2151751"/>
            <a:ext cx="5674000" cy="249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47" name="Google Shape;47;p2"/>
          <p:cNvSpPr txBox="1">
            <a:spLocks noGrp="1"/>
          </p:cNvSpPr>
          <p:nvPr>
            <p:ph type="subTitle" idx="1"/>
          </p:nvPr>
        </p:nvSpPr>
        <p:spPr>
          <a:xfrm>
            <a:off x="1098667" y="4795067"/>
            <a:ext cx="5674000" cy="92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3">
                <a:solidFill>
                  <a:schemeClr val="lt1"/>
                </a:solidFill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3">
                <a:solidFill>
                  <a:schemeClr val="lt1"/>
                </a:solidFill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3">
                <a:solidFill>
                  <a:schemeClr val="lt1"/>
                </a:solidFill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3">
                <a:solidFill>
                  <a:schemeClr val="lt1"/>
                </a:solidFill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3">
                <a:solidFill>
                  <a:schemeClr val="lt1"/>
                </a:solidFill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3">
                <a:solidFill>
                  <a:schemeClr val="lt1"/>
                </a:solidFill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3">
                <a:solidFill>
                  <a:schemeClr val="lt1"/>
                </a:solidFill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3">
                <a:solidFill>
                  <a:schemeClr val="lt1"/>
                </a:solidFill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2133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8" name="Google Shape;48;p2"/>
          <p:cNvSpPr txBox="1">
            <a:spLocks noGrp="1"/>
          </p:cNvSpPr>
          <p:nvPr>
            <p:ph type="sldNum" idx="12"/>
          </p:nvPr>
        </p:nvSpPr>
        <p:spPr>
          <a:xfrm>
            <a:off x="11268061" y="6315968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867380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" name="Google Shape;100;p6"/>
          <p:cNvGrpSpPr/>
          <p:nvPr/>
        </p:nvGrpSpPr>
        <p:grpSpPr>
          <a:xfrm>
            <a:off x="834621" y="399168"/>
            <a:ext cx="1332416" cy="1332416"/>
            <a:chOff x="348199" y="179450"/>
            <a:chExt cx="1116300" cy="1116300"/>
          </a:xfrm>
        </p:grpSpPr>
        <p:sp>
          <p:nvSpPr>
            <p:cNvPr id="101" name="Google Shape;101;p6"/>
            <p:cNvSpPr/>
            <p:nvPr/>
          </p:nvSpPr>
          <p:spPr>
            <a:xfrm rot="-5400000">
              <a:off x="574557" y="405788"/>
              <a:ext cx="663600" cy="663600"/>
            </a:xfrm>
            <a:prstGeom prst="pie">
              <a:avLst>
                <a:gd name="adj1" fmla="val 10792838"/>
                <a:gd name="adj2" fmla="val 16200000"/>
              </a:avLst>
            </a:prstGeom>
            <a:solidFill>
              <a:schemeClr val="dk2">
                <a:alpha val="12549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2" name="Google Shape;102;p6"/>
            <p:cNvSpPr/>
            <p:nvPr/>
          </p:nvSpPr>
          <p:spPr>
            <a:xfrm rot="-5400000">
              <a:off x="348199" y="179450"/>
              <a:ext cx="1116300" cy="1116300"/>
            </a:xfrm>
            <a:prstGeom prst="pie">
              <a:avLst>
                <a:gd name="adj1" fmla="val 10792838"/>
                <a:gd name="adj2" fmla="val 16200000"/>
              </a:avLst>
            </a:prstGeom>
            <a:solidFill>
              <a:schemeClr val="dk2">
                <a:alpha val="12549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03" name="Google Shape;103;p6"/>
          <p:cNvSpPr txBox="1">
            <a:spLocks noGrp="1"/>
          </p:cNvSpPr>
          <p:nvPr>
            <p:ph type="title"/>
          </p:nvPr>
        </p:nvSpPr>
        <p:spPr>
          <a:xfrm>
            <a:off x="1738400" y="798100"/>
            <a:ext cx="9374000" cy="133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 dirty="0"/>
          </a:p>
        </p:txBody>
      </p:sp>
      <p:sp>
        <p:nvSpPr>
          <p:cNvPr id="104" name="Google Shape;104;p6"/>
          <p:cNvSpPr txBox="1">
            <a:spLocks noGrp="1"/>
          </p:cNvSpPr>
          <p:nvPr>
            <p:ph type="sldNum" idx="12"/>
          </p:nvPr>
        </p:nvSpPr>
        <p:spPr>
          <a:xfrm>
            <a:off x="11268061" y="6315968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3752419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" name="Google Shape;106;p7"/>
          <p:cNvGrpSpPr/>
          <p:nvPr/>
        </p:nvGrpSpPr>
        <p:grpSpPr>
          <a:xfrm>
            <a:off x="834621" y="399168"/>
            <a:ext cx="1332416" cy="1332416"/>
            <a:chOff x="348199" y="179450"/>
            <a:chExt cx="1116300" cy="1116300"/>
          </a:xfrm>
        </p:grpSpPr>
        <p:sp>
          <p:nvSpPr>
            <p:cNvPr id="107" name="Google Shape;107;p7"/>
            <p:cNvSpPr/>
            <p:nvPr/>
          </p:nvSpPr>
          <p:spPr>
            <a:xfrm rot="-5400000">
              <a:off x="574557" y="405788"/>
              <a:ext cx="663600" cy="663600"/>
            </a:xfrm>
            <a:prstGeom prst="pie">
              <a:avLst>
                <a:gd name="adj1" fmla="val 10792838"/>
                <a:gd name="adj2" fmla="val 16200000"/>
              </a:avLst>
            </a:prstGeom>
            <a:solidFill>
              <a:schemeClr val="dk2">
                <a:alpha val="12549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8" name="Google Shape;108;p7"/>
            <p:cNvSpPr/>
            <p:nvPr/>
          </p:nvSpPr>
          <p:spPr>
            <a:xfrm rot="-5400000">
              <a:off x="348199" y="179450"/>
              <a:ext cx="1116300" cy="1116300"/>
            </a:xfrm>
            <a:prstGeom prst="pie">
              <a:avLst>
                <a:gd name="adj1" fmla="val 10792838"/>
                <a:gd name="adj2" fmla="val 16200000"/>
              </a:avLst>
            </a:prstGeom>
            <a:solidFill>
              <a:schemeClr val="dk2">
                <a:alpha val="12549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09" name="Google Shape;109;p7"/>
          <p:cNvSpPr txBox="1">
            <a:spLocks noGrp="1"/>
          </p:cNvSpPr>
          <p:nvPr>
            <p:ph type="title"/>
          </p:nvPr>
        </p:nvSpPr>
        <p:spPr>
          <a:xfrm>
            <a:off x="1738400" y="798100"/>
            <a:ext cx="4416000" cy="212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 dirty="0"/>
          </a:p>
        </p:txBody>
      </p:sp>
      <p:sp>
        <p:nvSpPr>
          <p:cNvPr id="110" name="Google Shape;110;p7"/>
          <p:cNvSpPr txBox="1">
            <a:spLocks noGrp="1"/>
          </p:cNvSpPr>
          <p:nvPr>
            <p:ph type="body" idx="1"/>
          </p:nvPr>
        </p:nvSpPr>
        <p:spPr>
          <a:xfrm>
            <a:off x="1738400" y="3079567"/>
            <a:ext cx="4416000" cy="296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14856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1219170" lvl="1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828754" lvl="2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2438339" lvl="3" indent="-397923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3047924" lvl="4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3657509" lvl="5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4267093" lvl="6" indent="-397923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4876678" lvl="7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5486263" lvl="8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111" name="Google Shape;111;p7"/>
          <p:cNvSpPr txBox="1">
            <a:spLocks noGrp="1"/>
          </p:cNvSpPr>
          <p:nvPr>
            <p:ph type="sldNum" idx="12"/>
          </p:nvPr>
        </p:nvSpPr>
        <p:spPr>
          <a:xfrm>
            <a:off x="11268061" y="6315968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3936396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bg>
      <p:bgPr>
        <a:solidFill>
          <a:schemeClr val="dk1"/>
        </a:solidFill>
        <a:effectLst/>
      </p:bgPr>
    </p:bg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oogle Shape;113;p8"/>
          <p:cNvGrpSpPr/>
          <p:nvPr/>
        </p:nvGrpSpPr>
        <p:grpSpPr>
          <a:xfrm>
            <a:off x="9155619" y="1741"/>
            <a:ext cx="3023268" cy="3468920"/>
            <a:chOff x="6790514" y="1306"/>
            <a:chExt cx="2267451" cy="2601690"/>
          </a:xfrm>
        </p:grpSpPr>
        <p:grpSp>
          <p:nvGrpSpPr>
            <p:cNvPr id="114" name="Google Shape;114;p8"/>
            <p:cNvGrpSpPr/>
            <p:nvPr/>
          </p:nvGrpSpPr>
          <p:grpSpPr>
            <a:xfrm>
              <a:off x="7067465" y="1306"/>
              <a:ext cx="1990500" cy="1990200"/>
              <a:chOff x="7067465" y="1306"/>
              <a:chExt cx="1990500" cy="1990200"/>
            </a:xfrm>
          </p:grpSpPr>
          <p:sp>
            <p:nvSpPr>
              <p:cNvPr id="115" name="Google Shape;115;p8"/>
              <p:cNvSpPr/>
              <p:nvPr/>
            </p:nvSpPr>
            <p:spPr>
              <a:xfrm rot="-8648551">
                <a:off x="7594313" y="527721"/>
                <a:ext cx="937226" cy="937226"/>
              </a:xfrm>
              <a:prstGeom prst="ellipse">
                <a:avLst/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16" name="Google Shape;116;p8"/>
              <p:cNvSpPr/>
              <p:nvPr/>
            </p:nvSpPr>
            <p:spPr>
              <a:xfrm rot="-8648551">
                <a:off x="7594313" y="527721"/>
                <a:ext cx="937226" cy="937226"/>
              </a:xfrm>
              <a:prstGeom prst="pie">
                <a:avLst>
                  <a:gd name="adj1" fmla="val 19376841"/>
                  <a:gd name="adj2" fmla="val 12313574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17" name="Google Shape;117;p8"/>
              <p:cNvSpPr/>
              <p:nvPr/>
            </p:nvSpPr>
            <p:spPr>
              <a:xfrm rot="-8649154">
                <a:off x="7349891" y="283705"/>
                <a:ext cx="1425647" cy="1425404"/>
              </a:xfrm>
              <a:prstGeom prst="ellipse">
                <a:avLst/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18" name="Google Shape;118;p8"/>
            <p:cNvGrpSpPr/>
            <p:nvPr/>
          </p:nvGrpSpPr>
          <p:grpSpPr>
            <a:xfrm>
              <a:off x="8207126" y="1807996"/>
              <a:ext cx="795000" cy="795000"/>
              <a:chOff x="8207126" y="1807996"/>
              <a:chExt cx="795000" cy="795000"/>
            </a:xfrm>
          </p:grpSpPr>
          <p:sp>
            <p:nvSpPr>
              <p:cNvPr id="119" name="Google Shape;119;p8"/>
              <p:cNvSpPr/>
              <p:nvPr/>
            </p:nvSpPr>
            <p:spPr>
              <a:xfrm rot="2152054">
                <a:off x="8319942" y="1920813"/>
                <a:ext cx="569367" cy="569367"/>
              </a:xfrm>
              <a:prstGeom prst="ellipse">
                <a:avLst/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20" name="Google Shape;120;p8"/>
              <p:cNvSpPr/>
              <p:nvPr/>
            </p:nvSpPr>
            <p:spPr>
              <a:xfrm rot="2150259">
                <a:off x="8408218" y="2008610"/>
                <a:ext cx="393004" cy="393004"/>
              </a:xfrm>
              <a:prstGeom prst="ellipse">
                <a:avLst/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21" name="Google Shape;121;p8"/>
              <p:cNvSpPr/>
              <p:nvPr/>
            </p:nvSpPr>
            <p:spPr>
              <a:xfrm rot="2150259">
                <a:off x="8408218" y="2008610"/>
                <a:ext cx="393004" cy="393004"/>
              </a:xfrm>
              <a:prstGeom prst="pie">
                <a:avLst>
                  <a:gd name="adj1" fmla="val 5699893"/>
                  <a:gd name="adj2" fmla="val 12313574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22" name="Google Shape;122;p8"/>
            <p:cNvGrpSpPr/>
            <p:nvPr/>
          </p:nvGrpSpPr>
          <p:grpSpPr>
            <a:xfrm>
              <a:off x="6790514" y="118857"/>
              <a:ext cx="548700" cy="548700"/>
              <a:chOff x="6790514" y="118857"/>
              <a:chExt cx="548700" cy="548700"/>
            </a:xfrm>
          </p:grpSpPr>
          <p:sp>
            <p:nvSpPr>
              <p:cNvPr id="123" name="Google Shape;123;p8"/>
              <p:cNvSpPr/>
              <p:nvPr/>
            </p:nvSpPr>
            <p:spPr>
              <a:xfrm rot="2150259">
                <a:off x="6868362" y="196705"/>
                <a:ext cx="393004" cy="393004"/>
              </a:xfrm>
              <a:prstGeom prst="ellipse">
                <a:avLst/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24" name="Google Shape;124;p8"/>
              <p:cNvSpPr/>
              <p:nvPr/>
            </p:nvSpPr>
            <p:spPr>
              <a:xfrm rot="2150259">
                <a:off x="6868362" y="196705"/>
                <a:ext cx="393004" cy="393004"/>
              </a:xfrm>
              <a:prstGeom prst="pie">
                <a:avLst>
                  <a:gd name="adj1" fmla="val 5699893"/>
                  <a:gd name="adj2" fmla="val 12313574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</p:grpSp>
      <p:sp>
        <p:nvSpPr>
          <p:cNvPr id="125" name="Google Shape;125;p8"/>
          <p:cNvSpPr txBox="1">
            <a:spLocks noGrp="1"/>
          </p:cNvSpPr>
          <p:nvPr>
            <p:ph type="title"/>
          </p:nvPr>
        </p:nvSpPr>
        <p:spPr>
          <a:xfrm>
            <a:off x="1098667" y="1018133"/>
            <a:ext cx="7810400" cy="476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48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126" name="Google Shape;126;p8"/>
          <p:cNvSpPr txBox="1">
            <a:spLocks noGrp="1"/>
          </p:cNvSpPr>
          <p:nvPr>
            <p:ph type="sldNum" idx="12"/>
          </p:nvPr>
        </p:nvSpPr>
        <p:spPr>
          <a:xfrm>
            <a:off x="11268061" y="6315968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194682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oogle Shape;128;p9"/>
          <p:cNvGrpSpPr/>
          <p:nvPr/>
        </p:nvGrpSpPr>
        <p:grpSpPr>
          <a:xfrm>
            <a:off x="834621" y="399168"/>
            <a:ext cx="1332416" cy="1332416"/>
            <a:chOff x="348199" y="179450"/>
            <a:chExt cx="1116300" cy="1116300"/>
          </a:xfrm>
        </p:grpSpPr>
        <p:sp>
          <p:nvSpPr>
            <p:cNvPr id="129" name="Google Shape;129;p9"/>
            <p:cNvSpPr/>
            <p:nvPr/>
          </p:nvSpPr>
          <p:spPr>
            <a:xfrm rot="-5400000">
              <a:off x="574557" y="405788"/>
              <a:ext cx="663600" cy="663600"/>
            </a:xfrm>
            <a:prstGeom prst="pie">
              <a:avLst>
                <a:gd name="adj1" fmla="val 10792838"/>
                <a:gd name="adj2" fmla="val 16200000"/>
              </a:avLst>
            </a:prstGeom>
            <a:solidFill>
              <a:schemeClr val="dk2">
                <a:alpha val="12549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0" name="Google Shape;130;p9"/>
            <p:cNvSpPr/>
            <p:nvPr/>
          </p:nvSpPr>
          <p:spPr>
            <a:xfrm rot="-5400000">
              <a:off x="348199" y="179450"/>
              <a:ext cx="1116300" cy="1116300"/>
            </a:xfrm>
            <a:prstGeom prst="pie">
              <a:avLst>
                <a:gd name="adj1" fmla="val 10792838"/>
                <a:gd name="adj2" fmla="val 16200000"/>
              </a:avLst>
            </a:prstGeom>
            <a:solidFill>
              <a:schemeClr val="dk2">
                <a:alpha val="12549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31" name="Google Shape;131;p9"/>
          <p:cNvSpPr txBox="1">
            <a:spLocks noGrp="1"/>
          </p:cNvSpPr>
          <p:nvPr>
            <p:ph type="title"/>
          </p:nvPr>
        </p:nvSpPr>
        <p:spPr>
          <a:xfrm>
            <a:off x="1738400" y="798100"/>
            <a:ext cx="4574000" cy="2653600"/>
          </a:xfrm>
          <a:prstGeom prst="rect">
            <a:avLst/>
          </a:prstGeom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 dirty="0"/>
          </a:p>
        </p:txBody>
      </p:sp>
      <p:sp>
        <p:nvSpPr>
          <p:cNvPr id="132" name="Google Shape;132;p9"/>
          <p:cNvSpPr txBox="1">
            <a:spLocks noGrp="1"/>
          </p:cNvSpPr>
          <p:nvPr>
            <p:ph type="subTitle" idx="1"/>
          </p:nvPr>
        </p:nvSpPr>
        <p:spPr>
          <a:xfrm>
            <a:off x="1738400" y="3657604"/>
            <a:ext cx="4574000" cy="968000"/>
          </a:xfrm>
          <a:prstGeom prst="rect">
            <a:avLst/>
          </a:prstGeom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9pPr>
          </a:lstStyle>
          <a:p>
            <a:endParaRPr/>
          </a:p>
        </p:txBody>
      </p:sp>
      <p:sp>
        <p:nvSpPr>
          <p:cNvPr id="133" name="Google Shape;133;p9"/>
          <p:cNvSpPr txBox="1">
            <a:spLocks noGrp="1"/>
          </p:cNvSpPr>
          <p:nvPr>
            <p:ph type="body" idx="2"/>
          </p:nvPr>
        </p:nvSpPr>
        <p:spPr>
          <a:xfrm>
            <a:off x="6538267" y="881333"/>
            <a:ext cx="4574000" cy="5160800"/>
          </a:xfrm>
          <a:prstGeom prst="rect">
            <a:avLst/>
          </a:prstGeom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14856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1219170" lvl="1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828754" lvl="2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2438339" lvl="3" indent="-397923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3047924" lvl="4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3657509" lvl="5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4267093" lvl="6" indent="-397923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4876678" lvl="7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5486263" lvl="8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134" name="Google Shape;134;p9"/>
          <p:cNvSpPr txBox="1">
            <a:spLocks noGrp="1"/>
          </p:cNvSpPr>
          <p:nvPr>
            <p:ph type="sldNum" idx="12"/>
          </p:nvPr>
        </p:nvSpPr>
        <p:spPr>
          <a:xfrm>
            <a:off x="11268061" y="6315968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25803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6" name="Google Shape;136;p10"/>
          <p:cNvGrpSpPr/>
          <p:nvPr/>
        </p:nvGrpSpPr>
        <p:grpSpPr>
          <a:xfrm>
            <a:off x="951164" y="5129492"/>
            <a:ext cx="1100523" cy="1100523"/>
            <a:chOff x="348199" y="179450"/>
            <a:chExt cx="1116300" cy="1116300"/>
          </a:xfrm>
        </p:grpSpPr>
        <p:sp>
          <p:nvSpPr>
            <p:cNvPr id="137" name="Google Shape;137;p10"/>
            <p:cNvSpPr/>
            <p:nvPr/>
          </p:nvSpPr>
          <p:spPr>
            <a:xfrm rot="-5400000">
              <a:off x="574557" y="405788"/>
              <a:ext cx="663600" cy="663600"/>
            </a:xfrm>
            <a:prstGeom prst="pie">
              <a:avLst>
                <a:gd name="adj1" fmla="val 10792838"/>
                <a:gd name="adj2" fmla="val 16200000"/>
              </a:avLst>
            </a:prstGeom>
            <a:solidFill>
              <a:schemeClr val="dk2">
                <a:alpha val="12549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38" name="Google Shape;138;p10"/>
            <p:cNvSpPr/>
            <p:nvPr/>
          </p:nvSpPr>
          <p:spPr>
            <a:xfrm rot="-5400000">
              <a:off x="348199" y="179450"/>
              <a:ext cx="1116300" cy="1116300"/>
            </a:xfrm>
            <a:prstGeom prst="pie">
              <a:avLst>
                <a:gd name="adj1" fmla="val 10792838"/>
                <a:gd name="adj2" fmla="val 16200000"/>
              </a:avLst>
            </a:prstGeom>
            <a:solidFill>
              <a:schemeClr val="dk2">
                <a:alpha val="12549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39" name="Google Shape;139;p10"/>
          <p:cNvSpPr txBox="1">
            <a:spLocks noGrp="1"/>
          </p:cNvSpPr>
          <p:nvPr>
            <p:ph type="body" idx="1"/>
          </p:nvPr>
        </p:nvSpPr>
        <p:spPr>
          <a:xfrm>
            <a:off x="1738400" y="5518633"/>
            <a:ext cx="7790800" cy="71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</a:lstStyle>
          <a:p>
            <a:endParaRPr/>
          </a:p>
        </p:txBody>
      </p:sp>
      <p:sp>
        <p:nvSpPr>
          <p:cNvPr id="140" name="Google Shape;140;p10"/>
          <p:cNvSpPr txBox="1">
            <a:spLocks noGrp="1"/>
          </p:cNvSpPr>
          <p:nvPr>
            <p:ph type="sldNum" idx="12"/>
          </p:nvPr>
        </p:nvSpPr>
        <p:spPr>
          <a:xfrm>
            <a:off x="11268061" y="6315968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8951432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bg>
      <p:bgPr>
        <a:solidFill>
          <a:schemeClr val="accent3"/>
        </a:solidFill>
        <a:effectLst/>
      </p:bgPr>
    </p:bg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" name="Google Shape;142;p11"/>
          <p:cNvGrpSpPr/>
          <p:nvPr/>
        </p:nvGrpSpPr>
        <p:grpSpPr>
          <a:xfrm>
            <a:off x="69" y="5465600"/>
            <a:ext cx="12192048" cy="1392400"/>
            <a:chOff x="52" y="4099200"/>
            <a:chExt cx="9144036" cy="1044300"/>
          </a:xfrm>
        </p:grpSpPr>
        <p:grpSp>
          <p:nvGrpSpPr>
            <p:cNvPr id="143" name="Google Shape;143;p11"/>
            <p:cNvGrpSpPr/>
            <p:nvPr/>
          </p:nvGrpSpPr>
          <p:grpSpPr>
            <a:xfrm>
              <a:off x="52" y="4309200"/>
              <a:ext cx="231622" cy="834300"/>
              <a:chOff x="2688737" y="4301380"/>
              <a:chExt cx="231900" cy="834300"/>
            </a:xfrm>
          </p:grpSpPr>
          <p:sp>
            <p:nvSpPr>
              <p:cNvPr id="144" name="Google Shape;144;p11"/>
              <p:cNvSpPr/>
              <p:nvPr/>
            </p:nvSpPr>
            <p:spPr>
              <a:xfrm flipH="1">
                <a:off x="2688737" y="4720780"/>
                <a:ext cx="2319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45" name="Google Shape;145;p11"/>
              <p:cNvSpPr/>
              <p:nvPr/>
            </p:nvSpPr>
            <p:spPr>
              <a:xfrm flipH="1">
                <a:off x="2688737" y="4301380"/>
                <a:ext cx="2319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46" name="Google Shape;146;p11"/>
              <p:cNvSpPr/>
              <p:nvPr/>
            </p:nvSpPr>
            <p:spPr>
              <a:xfrm flipH="1">
                <a:off x="2688737" y="4511080"/>
                <a:ext cx="2319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47" name="Google Shape;147;p11"/>
              <p:cNvSpPr/>
              <p:nvPr/>
            </p:nvSpPr>
            <p:spPr>
              <a:xfrm flipH="1">
                <a:off x="2688737" y="4930480"/>
                <a:ext cx="2319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48" name="Google Shape;148;p11"/>
            <p:cNvGrpSpPr/>
            <p:nvPr/>
          </p:nvGrpSpPr>
          <p:grpSpPr>
            <a:xfrm>
              <a:off x="371406" y="4099200"/>
              <a:ext cx="231622" cy="1044300"/>
              <a:chOff x="2688737" y="4091380"/>
              <a:chExt cx="231900" cy="1044300"/>
            </a:xfrm>
          </p:grpSpPr>
          <p:sp>
            <p:nvSpPr>
              <p:cNvPr id="149" name="Google Shape;149;p11"/>
              <p:cNvSpPr/>
              <p:nvPr/>
            </p:nvSpPr>
            <p:spPr>
              <a:xfrm flipH="1">
                <a:off x="2688737" y="4720780"/>
                <a:ext cx="2319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50" name="Google Shape;150;p11"/>
              <p:cNvSpPr/>
              <p:nvPr/>
            </p:nvSpPr>
            <p:spPr>
              <a:xfrm flipH="1">
                <a:off x="2688737" y="4301380"/>
                <a:ext cx="2319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51" name="Google Shape;151;p11"/>
              <p:cNvSpPr/>
              <p:nvPr/>
            </p:nvSpPr>
            <p:spPr>
              <a:xfrm flipH="1">
                <a:off x="2688737" y="4511080"/>
                <a:ext cx="2319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52" name="Google Shape;152;p11"/>
              <p:cNvSpPr/>
              <p:nvPr/>
            </p:nvSpPr>
            <p:spPr>
              <a:xfrm flipH="1">
                <a:off x="2688737" y="4091380"/>
                <a:ext cx="231900" cy="104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53" name="Google Shape;153;p11"/>
              <p:cNvSpPr/>
              <p:nvPr/>
            </p:nvSpPr>
            <p:spPr>
              <a:xfrm flipH="1">
                <a:off x="2688737" y="4930480"/>
                <a:ext cx="2319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54" name="Google Shape;154;p11"/>
            <p:cNvGrpSpPr/>
            <p:nvPr/>
          </p:nvGrpSpPr>
          <p:grpSpPr>
            <a:xfrm>
              <a:off x="742761" y="4309200"/>
              <a:ext cx="231622" cy="834300"/>
              <a:chOff x="2688737" y="4301380"/>
              <a:chExt cx="231900" cy="834300"/>
            </a:xfrm>
          </p:grpSpPr>
          <p:sp>
            <p:nvSpPr>
              <p:cNvPr id="155" name="Google Shape;155;p11"/>
              <p:cNvSpPr/>
              <p:nvPr/>
            </p:nvSpPr>
            <p:spPr>
              <a:xfrm flipH="1">
                <a:off x="2688737" y="4720780"/>
                <a:ext cx="2319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56" name="Google Shape;156;p11"/>
              <p:cNvSpPr/>
              <p:nvPr/>
            </p:nvSpPr>
            <p:spPr>
              <a:xfrm flipH="1">
                <a:off x="2688737" y="4301380"/>
                <a:ext cx="2319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57" name="Google Shape;157;p11"/>
              <p:cNvSpPr/>
              <p:nvPr/>
            </p:nvSpPr>
            <p:spPr>
              <a:xfrm flipH="1">
                <a:off x="2688737" y="4511080"/>
                <a:ext cx="2319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58" name="Google Shape;158;p11"/>
              <p:cNvSpPr/>
              <p:nvPr/>
            </p:nvSpPr>
            <p:spPr>
              <a:xfrm flipH="1">
                <a:off x="2688737" y="4930480"/>
                <a:ext cx="2319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59" name="Google Shape;159;p11"/>
            <p:cNvGrpSpPr/>
            <p:nvPr/>
          </p:nvGrpSpPr>
          <p:grpSpPr>
            <a:xfrm>
              <a:off x="1114115" y="4518900"/>
              <a:ext cx="231622" cy="624600"/>
              <a:chOff x="2688737" y="4511080"/>
              <a:chExt cx="231900" cy="624600"/>
            </a:xfrm>
          </p:grpSpPr>
          <p:sp>
            <p:nvSpPr>
              <p:cNvPr id="160" name="Google Shape;160;p11"/>
              <p:cNvSpPr/>
              <p:nvPr/>
            </p:nvSpPr>
            <p:spPr>
              <a:xfrm flipH="1">
                <a:off x="2688737" y="4720780"/>
                <a:ext cx="2319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61" name="Google Shape;161;p11"/>
              <p:cNvSpPr/>
              <p:nvPr/>
            </p:nvSpPr>
            <p:spPr>
              <a:xfrm flipH="1">
                <a:off x="2688737" y="4511080"/>
                <a:ext cx="2319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62" name="Google Shape;162;p11"/>
              <p:cNvSpPr/>
              <p:nvPr/>
            </p:nvSpPr>
            <p:spPr>
              <a:xfrm flipH="1">
                <a:off x="2688737" y="4930480"/>
                <a:ext cx="2319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63" name="Google Shape;163;p11"/>
            <p:cNvGrpSpPr/>
            <p:nvPr/>
          </p:nvGrpSpPr>
          <p:grpSpPr>
            <a:xfrm>
              <a:off x="1856753" y="4099200"/>
              <a:ext cx="231600" cy="1044300"/>
              <a:chOff x="1856753" y="4099200"/>
              <a:chExt cx="231600" cy="1044300"/>
            </a:xfrm>
          </p:grpSpPr>
          <p:sp>
            <p:nvSpPr>
              <p:cNvPr id="164" name="Google Shape;164;p11"/>
              <p:cNvSpPr/>
              <p:nvPr/>
            </p:nvSpPr>
            <p:spPr>
              <a:xfrm flipH="1">
                <a:off x="1856753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65" name="Google Shape;165;p11"/>
              <p:cNvSpPr/>
              <p:nvPr/>
            </p:nvSpPr>
            <p:spPr>
              <a:xfrm flipH="1">
                <a:off x="1856753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66" name="Google Shape;166;p11"/>
              <p:cNvSpPr/>
              <p:nvPr/>
            </p:nvSpPr>
            <p:spPr>
              <a:xfrm flipH="1">
                <a:off x="1856753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67" name="Google Shape;167;p11"/>
              <p:cNvSpPr/>
              <p:nvPr/>
            </p:nvSpPr>
            <p:spPr>
              <a:xfrm flipH="1">
                <a:off x="1856753" y="4099200"/>
                <a:ext cx="231600" cy="104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68" name="Google Shape;168;p11"/>
              <p:cNvSpPr/>
              <p:nvPr/>
            </p:nvSpPr>
            <p:spPr>
              <a:xfrm flipH="1">
                <a:off x="1856753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69" name="Google Shape;169;p11"/>
            <p:cNvGrpSpPr/>
            <p:nvPr/>
          </p:nvGrpSpPr>
          <p:grpSpPr>
            <a:xfrm>
              <a:off x="2228107" y="4309200"/>
              <a:ext cx="231600" cy="834300"/>
              <a:chOff x="2228107" y="4309200"/>
              <a:chExt cx="231600" cy="834300"/>
            </a:xfrm>
          </p:grpSpPr>
          <p:sp>
            <p:nvSpPr>
              <p:cNvPr id="170" name="Google Shape;170;p11"/>
              <p:cNvSpPr/>
              <p:nvPr/>
            </p:nvSpPr>
            <p:spPr>
              <a:xfrm flipH="1">
                <a:off x="2228107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71" name="Google Shape;171;p11"/>
              <p:cNvSpPr/>
              <p:nvPr/>
            </p:nvSpPr>
            <p:spPr>
              <a:xfrm flipH="1">
                <a:off x="2228107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72" name="Google Shape;172;p11"/>
              <p:cNvSpPr/>
              <p:nvPr/>
            </p:nvSpPr>
            <p:spPr>
              <a:xfrm flipH="1">
                <a:off x="2228107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73" name="Google Shape;173;p11"/>
              <p:cNvSpPr/>
              <p:nvPr/>
            </p:nvSpPr>
            <p:spPr>
              <a:xfrm flipH="1">
                <a:off x="2228107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74" name="Google Shape;174;p11"/>
            <p:cNvGrpSpPr/>
            <p:nvPr/>
          </p:nvGrpSpPr>
          <p:grpSpPr>
            <a:xfrm>
              <a:off x="2599462" y="4518900"/>
              <a:ext cx="231600" cy="624600"/>
              <a:chOff x="2599462" y="4518900"/>
              <a:chExt cx="231600" cy="624600"/>
            </a:xfrm>
          </p:grpSpPr>
          <p:sp>
            <p:nvSpPr>
              <p:cNvPr id="175" name="Google Shape;175;p11"/>
              <p:cNvSpPr/>
              <p:nvPr/>
            </p:nvSpPr>
            <p:spPr>
              <a:xfrm flipH="1">
                <a:off x="2599462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76" name="Google Shape;176;p11"/>
              <p:cNvSpPr/>
              <p:nvPr/>
            </p:nvSpPr>
            <p:spPr>
              <a:xfrm flipH="1">
                <a:off x="2599462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77" name="Google Shape;177;p11"/>
              <p:cNvSpPr/>
              <p:nvPr/>
            </p:nvSpPr>
            <p:spPr>
              <a:xfrm flipH="1">
                <a:off x="2599462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78" name="Google Shape;178;p11"/>
            <p:cNvGrpSpPr/>
            <p:nvPr/>
          </p:nvGrpSpPr>
          <p:grpSpPr>
            <a:xfrm>
              <a:off x="3342171" y="4099200"/>
              <a:ext cx="231600" cy="1044300"/>
              <a:chOff x="3342171" y="4099200"/>
              <a:chExt cx="231600" cy="1044300"/>
            </a:xfrm>
          </p:grpSpPr>
          <p:sp>
            <p:nvSpPr>
              <p:cNvPr id="179" name="Google Shape;179;p11"/>
              <p:cNvSpPr/>
              <p:nvPr/>
            </p:nvSpPr>
            <p:spPr>
              <a:xfrm flipH="1">
                <a:off x="3342171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80" name="Google Shape;180;p11"/>
              <p:cNvSpPr/>
              <p:nvPr/>
            </p:nvSpPr>
            <p:spPr>
              <a:xfrm flipH="1">
                <a:off x="3342171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81" name="Google Shape;181;p11"/>
              <p:cNvSpPr/>
              <p:nvPr/>
            </p:nvSpPr>
            <p:spPr>
              <a:xfrm flipH="1">
                <a:off x="3342171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82" name="Google Shape;182;p11"/>
              <p:cNvSpPr/>
              <p:nvPr/>
            </p:nvSpPr>
            <p:spPr>
              <a:xfrm flipH="1">
                <a:off x="3342171" y="4099200"/>
                <a:ext cx="231600" cy="104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83" name="Google Shape;183;p11"/>
              <p:cNvSpPr/>
              <p:nvPr/>
            </p:nvSpPr>
            <p:spPr>
              <a:xfrm flipH="1">
                <a:off x="3342171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84" name="Google Shape;184;p11"/>
            <p:cNvGrpSpPr/>
            <p:nvPr/>
          </p:nvGrpSpPr>
          <p:grpSpPr>
            <a:xfrm>
              <a:off x="3713525" y="4309200"/>
              <a:ext cx="231600" cy="834300"/>
              <a:chOff x="3713525" y="4309200"/>
              <a:chExt cx="231600" cy="834300"/>
            </a:xfrm>
          </p:grpSpPr>
          <p:sp>
            <p:nvSpPr>
              <p:cNvPr id="185" name="Google Shape;185;p11"/>
              <p:cNvSpPr/>
              <p:nvPr/>
            </p:nvSpPr>
            <p:spPr>
              <a:xfrm flipH="1">
                <a:off x="3713525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86" name="Google Shape;186;p11"/>
              <p:cNvSpPr/>
              <p:nvPr/>
            </p:nvSpPr>
            <p:spPr>
              <a:xfrm flipH="1">
                <a:off x="3713525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87" name="Google Shape;187;p11"/>
              <p:cNvSpPr/>
              <p:nvPr/>
            </p:nvSpPr>
            <p:spPr>
              <a:xfrm flipH="1">
                <a:off x="3713525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88" name="Google Shape;188;p11"/>
              <p:cNvSpPr/>
              <p:nvPr/>
            </p:nvSpPr>
            <p:spPr>
              <a:xfrm flipH="1">
                <a:off x="3713525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89" name="Google Shape;189;p11"/>
            <p:cNvGrpSpPr/>
            <p:nvPr/>
          </p:nvGrpSpPr>
          <p:grpSpPr>
            <a:xfrm>
              <a:off x="1485398" y="4309200"/>
              <a:ext cx="231600" cy="834300"/>
              <a:chOff x="1485398" y="4309200"/>
              <a:chExt cx="231600" cy="834300"/>
            </a:xfrm>
          </p:grpSpPr>
          <p:sp>
            <p:nvSpPr>
              <p:cNvPr id="190" name="Google Shape;190;p11"/>
              <p:cNvSpPr/>
              <p:nvPr/>
            </p:nvSpPr>
            <p:spPr>
              <a:xfrm flipH="1">
                <a:off x="1485398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91" name="Google Shape;191;p11"/>
              <p:cNvSpPr/>
              <p:nvPr/>
            </p:nvSpPr>
            <p:spPr>
              <a:xfrm flipH="1">
                <a:off x="1485398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92" name="Google Shape;192;p11"/>
              <p:cNvSpPr/>
              <p:nvPr/>
            </p:nvSpPr>
            <p:spPr>
              <a:xfrm flipH="1">
                <a:off x="1485398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93" name="Google Shape;193;p11"/>
              <p:cNvSpPr/>
              <p:nvPr/>
            </p:nvSpPr>
            <p:spPr>
              <a:xfrm flipH="1">
                <a:off x="1485398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94" name="Google Shape;194;p11"/>
            <p:cNvGrpSpPr/>
            <p:nvPr/>
          </p:nvGrpSpPr>
          <p:grpSpPr>
            <a:xfrm>
              <a:off x="4084879" y="4518900"/>
              <a:ext cx="231600" cy="624600"/>
              <a:chOff x="4084879" y="4518900"/>
              <a:chExt cx="231600" cy="624600"/>
            </a:xfrm>
          </p:grpSpPr>
          <p:sp>
            <p:nvSpPr>
              <p:cNvPr id="195" name="Google Shape;195;p11"/>
              <p:cNvSpPr/>
              <p:nvPr/>
            </p:nvSpPr>
            <p:spPr>
              <a:xfrm flipH="1">
                <a:off x="4084879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96" name="Google Shape;196;p11"/>
              <p:cNvSpPr/>
              <p:nvPr/>
            </p:nvSpPr>
            <p:spPr>
              <a:xfrm flipH="1">
                <a:off x="4084879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197" name="Google Shape;197;p11"/>
              <p:cNvSpPr/>
              <p:nvPr/>
            </p:nvSpPr>
            <p:spPr>
              <a:xfrm flipH="1">
                <a:off x="4084879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198" name="Google Shape;198;p11"/>
            <p:cNvGrpSpPr/>
            <p:nvPr/>
          </p:nvGrpSpPr>
          <p:grpSpPr>
            <a:xfrm>
              <a:off x="2970816" y="4309200"/>
              <a:ext cx="231600" cy="834300"/>
              <a:chOff x="2970816" y="4309200"/>
              <a:chExt cx="231600" cy="834300"/>
            </a:xfrm>
          </p:grpSpPr>
          <p:sp>
            <p:nvSpPr>
              <p:cNvPr id="199" name="Google Shape;199;p11"/>
              <p:cNvSpPr/>
              <p:nvPr/>
            </p:nvSpPr>
            <p:spPr>
              <a:xfrm flipH="1">
                <a:off x="2970816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0" name="Google Shape;200;p11"/>
              <p:cNvSpPr/>
              <p:nvPr/>
            </p:nvSpPr>
            <p:spPr>
              <a:xfrm flipH="1">
                <a:off x="2970816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1" name="Google Shape;201;p11"/>
              <p:cNvSpPr/>
              <p:nvPr/>
            </p:nvSpPr>
            <p:spPr>
              <a:xfrm flipH="1">
                <a:off x="2970816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2" name="Google Shape;202;p11"/>
              <p:cNvSpPr/>
              <p:nvPr/>
            </p:nvSpPr>
            <p:spPr>
              <a:xfrm flipH="1">
                <a:off x="2970816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03" name="Google Shape;203;p11"/>
            <p:cNvGrpSpPr/>
            <p:nvPr/>
          </p:nvGrpSpPr>
          <p:grpSpPr>
            <a:xfrm>
              <a:off x="4456234" y="4309200"/>
              <a:ext cx="231600" cy="834300"/>
              <a:chOff x="4456234" y="4309200"/>
              <a:chExt cx="231600" cy="834300"/>
            </a:xfrm>
          </p:grpSpPr>
          <p:sp>
            <p:nvSpPr>
              <p:cNvPr id="204" name="Google Shape;204;p11"/>
              <p:cNvSpPr/>
              <p:nvPr/>
            </p:nvSpPr>
            <p:spPr>
              <a:xfrm flipH="1">
                <a:off x="4456234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5" name="Google Shape;205;p11"/>
              <p:cNvSpPr/>
              <p:nvPr/>
            </p:nvSpPr>
            <p:spPr>
              <a:xfrm flipH="1">
                <a:off x="4456234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6" name="Google Shape;206;p11"/>
              <p:cNvSpPr/>
              <p:nvPr/>
            </p:nvSpPr>
            <p:spPr>
              <a:xfrm flipH="1">
                <a:off x="4456234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07" name="Google Shape;207;p11"/>
              <p:cNvSpPr/>
              <p:nvPr/>
            </p:nvSpPr>
            <p:spPr>
              <a:xfrm flipH="1">
                <a:off x="4456234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08" name="Google Shape;208;p11"/>
            <p:cNvGrpSpPr/>
            <p:nvPr/>
          </p:nvGrpSpPr>
          <p:grpSpPr>
            <a:xfrm>
              <a:off x="4827588" y="4099200"/>
              <a:ext cx="231600" cy="1044300"/>
              <a:chOff x="4827588" y="4099200"/>
              <a:chExt cx="231600" cy="1044300"/>
            </a:xfrm>
          </p:grpSpPr>
          <p:sp>
            <p:nvSpPr>
              <p:cNvPr id="209" name="Google Shape;209;p11"/>
              <p:cNvSpPr/>
              <p:nvPr/>
            </p:nvSpPr>
            <p:spPr>
              <a:xfrm flipH="1">
                <a:off x="4827588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10" name="Google Shape;210;p11"/>
              <p:cNvSpPr/>
              <p:nvPr/>
            </p:nvSpPr>
            <p:spPr>
              <a:xfrm flipH="1">
                <a:off x="4827588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11" name="Google Shape;211;p11"/>
              <p:cNvSpPr/>
              <p:nvPr/>
            </p:nvSpPr>
            <p:spPr>
              <a:xfrm flipH="1">
                <a:off x="4827588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12" name="Google Shape;212;p11"/>
              <p:cNvSpPr/>
              <p:nvPr/>
            </p:nvSpPr>
            <p:spPr>
              <a:xfrm flipH="1">
                <a:off x="4827588" y="4099200"/>
                <a:ext cx="231600" cy="104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13" name="Google Shape;213;p11"/>
              <p:cNvSpPr/>
              <p:nvPr/>
            </p:nvSpPr>
            <p:spPr>
              <a:xfrm flipH="1">
                <a:off x="4827588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14" name="Google Shape;214;p11"/>
            <p:cNvGrpSpPr/>
            <p:nvPr/>
          </p:nvGrpSpPr>
          <p:grpSpPr>
            <a:xfrm>
              <a:off x="5198943" y="4309200"/>
              <a:ext cx="231600" cy="834300"/>
              <a:chOff x="5198943" y="4309200"/>
              <a:chExt cx="231600" cy="834300"/>
            </a:xfrm>
          </p:grpSpPr>
          <p:sp>
            <p:nvSpPr>
              <p:cNvPr id="215" name="Google Shape;215;p11"/>
              <p:cNvSpPr/>
              <p:nvPr/>
            </p:nvSpPr>
            <p:spPr>
              <a:xfrm flipH="1">
                <a:off x="5198943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16" name="Google Shape;216;p11"/>
              <p:cNvSpPr/>
              <p:nvPr/>
            </p:nvSpPr>
            <p:spPr>
              <a:xfrm flipH="1">
                <a:off x="5198943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17" name="Google Shape;217;p11"/>
              <p:cNvSpPr/>
              <p:nvPr/>
            </p:nvSpPr>
            <p:spPr>
              <a:xfrm flipH="1">
                <a:off x="5198943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18" name="Google Shape;218;p11"/>
              <p:cNvSpPr/>
              <p:nvPr/>
            </p:nvSpPr>
            <p:spPr>
              <a:xfrm flipH="1">
                <a:off x="5198943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19" name="Google Shape;219;p11"/>
            <p:cNvGrpSpPr/>
            <p:nvPr/>
          </p:nvGrpSpPr>
          <p:grpSpPr>
            <a:xfrm>
              <a:off x="5570297" y="4518900"/>
              <a:ext cx="231600" cy="624600"/>
              <a:chOff x="5570297" y="4518900"/>
              <a:chExt cx="231600" cy="624600"/>
            </a:xfrm>
          </p:grpSpPr>
          <p:sp>
            <p:nvSpPr>
              <p:cNvPr id="220" name="Google Shape;220;p11"/>
              <p:cNvSpPr/>
              <p:nvPr/>
            </p:nvSpPr>
            <p:spPr>
              <a:xfrm flipH="1">
                <a:off x="5570297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1" name="Google Shape;221;p11"/>
              <p:cNvSpPr/>
              <p:nvPr/>
            </p:nvSpPr>
            <p:spPr>
              <a:xfrm flipH="1">
                <a:off x="5570297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2" name="Google Shape;222;p11"/>
              <p:cNvSpPr/>
              <p:nvPr/>
            </p:nvSpPr>
            <p:spPr>
              <a:xfrm flipH="1">
                <a:off x="5570297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23" name="Google Shape;223;p11"/>
            <p:cNvGrpSpPr/>
            <p:nvPr/>
          </p:nvGrpSpPr>
          <p:grpSpPr>
            <a:xfrm>
              <a:off x="5941652" y="4309200"/>
              <a:ext cx="231600" cy="834300"/>
              <a:chOff x="5941652" y="4309200"/>
              <a:chExt cx="231600" cy="834300"/>
            </a:xfrm>
          </p:grpSpPr>
          <p:sp>
            <p:nvSpPr>
              <p:cNvPr id="224" name="Google Shape;224;p11"/>
              <p:cNvSpPr/>
              <p:nvPr/>
            </p:nvSpPr>
            <p:spPr>
              <a:xfrm flipH="1">
                <a:off x="5941652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5" name="Google Shape;225;p11"/>
              <p:cNvSpPr/>
              <p:nvPr/>
            </p:nvSpPr>
            <p:spPr>
              <a:xfrm flipH="1">
                <a:off x="5941652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6" name="Google Shape;226;p11"/>
              <p:cNvSpPr/>
              <p:nvPr/>
            </p:nvSpPr>
            <p:spPr>
              <a:xfrm flipH="1">
                <a:off x="5941652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7" name="Google Shape;227;p11"/>
              <p:cNvSpPr/>
              <p:nvPr/>
            </p:nvSpPr>
            <p:spPr>
              <a:xfrm flipH="1">
                <a:off x="5941652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28" name="Google Shape;228;p11"/>
            <p:cNvGrpSpPr/>
            <p:nvPr/>
          </p:nvGrpSpPr>
          <p:grpSpPr>
            <a:xfrm>
              <a:off x="6313006" y="4099200"/>
              <a:ext cx="231600" cy="1044300"/>
              <a:chOff x="6313006" y="4099200"/>
              <a:chExt cx="231600" cy="1044300"/>
            </a:xfrm>
          </p:grpSpPr>
          <p:sp>
            <p:nvSpPr>
              <p:cNvPr id="229" name="Google Shape;229;p11"/>
              <p:cNvSpPr/>
              <p:nvPr/>
            </p:nvSpPr>
            <p:spPr>
              <a:xfrm flipH="1">
                <a:off x="6313006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30" name="Google Shape;230;p11"/>
              <p:cNvSpPr/>
              <p:nvPr/>
            </p:nvSpPr>
            <p:spPr>
              <a:xfrm flipH="1">
                <a:off x="6313006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31" name="Google Shape;231;p11"/>
              <p:cNvSpPr/>
              <p:nvPr/>
            </p:nvSpPr>
            <p:spPr>
              <a:xfrm flipH="1">
                <a:off x="6313006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32" name="Google Shape;232;p11"/>
              <p:cNvSpPr/>
              <p:nvPr/>
            </p:nvSpPr>
            <p:spPr>
              <a:xfrm flipH="1">
                <a:off x="6313006" y="4099200"/>
                <a:ext cx="231600" cy="104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33" name="Google Shape;233;p11"/>
              <p:cNvSpPr/>
              <p:nvPr/>
            </p:nvSpPr>
            <p:spPr>
              <a:xfrm flipH="1">
                <a:off x="6313006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34" name="Google Shape;234;p11"/>
            <p:cNvGrpSpPr/>
            <p:nvPr/>
          </p:nvGrpSpPr>
          <p:grpSpPr>
            <a:xfrm>
              <a:off x="6684361" y="4309200"/>
              <a:ext cx="231600" cy="834300"/>
              <a:chOff x="6684361" y="4309200"/>
              <a:chExt cx="231600" cy="834300"/>
            </a:xfrm>
          </p:grpSpPr>
          <p:sp>
            <p:nvSpPr>
              <p:cNvPr id="235" name="Google Shape;235;p11"/>
              <p:cNvSpPr/>
              <p:nvPr/>
            </p:nvSpPr>
            <p:spPr>
              <a:xfrm flipH="1">
                <a:off x="6684361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36" name="Google Shape;236;p11"/>
              <p:cNvSpPr/>
              <p:nvPr/>
            </p:nvSpPr>
            <p:spPr>
              <a:xfrm flipH="1">
                <a:off x="6684361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37" name="Google Shape;237;p11"/>
              <p:cNvSpPr/>
              <p:nvPr/>
            </p:nvSpPr>
            <p:spPr>
              <a:xfrm flipH="1">
                <a:off x="6684361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38" name="Google Shape;238;p11"/>
              <p:cNvSpPr/>
              <p:nvPr/>
            </p:nvSpPr>
            <p:spPr>
              <a:xfrm flipH="1">
                <a:off x="6684361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39" name="Google Shape;239;p11"/>
            <p:cNvGrpSpPr/>
            <p:nvPr/>
          </p:nvGrpSpPr>
          <p:grpSpPr>
            <a:xfrm>
              <a:off x="7055715" y="4518900"/>
              <a:ext cx="231600" cy="624600"/>
              <a:chOff x="7055715" y="4518900"/>
              <a:chExt cx="231600" cy="624600"/>
            </a:xfrm>
          </p:grpSpPr>
          <p:sp>
            <p:nvSpPr>
              <p:cNvPr id="240" name="Google Shape;240;p11"/>
              <p:cNvSpPr/>
              <p:nvPr/>
            </p:nvSpPr>
            <p:spPr>
              <a:xfrm flipH="1">
                <a:off x="7055715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41" name="Google Shape;241;p11"/>
              <p:cNvSpPr/>
              <p:nvPr/>
            </p:nvSpPr>
            <p:spPr>
              <a:xfrm flipH="1">
                <a:off x="7055715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42" name="Google Shape;242;p11"/>
              <p:cNvSpPr/>
              <p:nvPr/>
            </p:nvSpPr>
            <p:spPr>
              <a:xfrm flipH="1">
                <a:off x="7055715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43" name="Google Shape;243;p11"/>
            <p:cNvGrpSpPr/>
            <p:nvPr/>
          </p:nvGrpSpPr>
          <p:grpSpPr>
            <a:xfrm>
              <a:off x="7798424" y="4099200"/>
              <a:ext cx="231600" cy="1044300"/>
              <a:chOff x="7798424" y="4099200"/>
              <a:chExt cx="231600" cy="1044300"/>
            </a:xfrm>
          </p:grpSpPr>
          <p:sp>
            <p:nvSpPr>
              <p:cNvPr id="244" name="Google Shape;244;p11"/>
              <p:cNvSpPr/>
              <p:nvPr/>
            </p:nvSpPr>
            <p:spPr>
              <a:xfrm flipH="1">
                <a:off x="7798424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45" name="Google Shape;245;p11"/>
              <p:cNvSpPr/>
              <p:nvPr/>
            </p:nvSpPr>
            <p:spPr>
              <a:xfrm flipH="1">
                <a:off x="7798424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46" name="Google Shape;246;p11"/>
              <p:cNvSpPr/>
              <p:nvPr/>
            </p:nvSpPr>
            <p:spPr>
              <a:xfrm flipH="1">
                <a:off x="7798424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47" name="Google Shape;247;p11"/>
              <p:cNvSpPr/>
              <p:nvPr/>
            </p:nvSpPr>
            <p:spPr>
              <a:xfrm flipH="1">
                <a:off x="7798424" y="4099200"/>
                <a:ext cx="231600" cy="104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48" name="Google Shape;248;p11"/>
              <p:cNvSpPr/>
              <p:nvPr/>
            </p:nvSpPr>
            <p:spPr>
              <a:xfrm flipH="1">
                <a:off x="7798424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49" name="Google Shape;249;p11"/>
            <p:cNvGrpSpPr/>
            <p:nvPr/>
          </p:nvGrpSpPr>
          <p:grpSpPr>
            <a:xfrm>
              <a:off x="8169779" y="4309200"/>
              <a:ext cx="231600" cy="834300"/>
              <a:chOff x="8169779" y="4309200"/>
              <a:chExt cx="231600" cy="834300"/>
            </a:xfrm>
          </p:grpSpPr>
          <p:sp>
            <p:nvSpPr>
              <p:cNvPr id="250" name="Google Shape;250;p11"/>
              <p:cNvSpPr/>
              <p:nvPr/>
            </p:nvSpPr>
            <p:spPr>
              <a:xfrm flipH="1">
                <a:off x="8169779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51" name="Google Shape;251;p11"/>
              <p:cNvSpPr/>
              <p:nvPr/>
            </p:nvSpPr>
            <p:spPr>
              <a:xfrm flipH="1">
                <a:off x="8169779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52" name="Google Shape;252;p11"/>
              <p:cNvSpPr/>
              <p:nvPr/>
            </p:nvSpPr>
            <p:spPr>
              <a:xfrm flipH="1">
                <a:off x="8169779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53" name="Google Shape;253;p11"/>
              <p:cNvSpPr/>
              <p:nvPr/>
            </p:nvSpPr>
            <p:spPr>
              <a:xfrm flipH="1">
                <a:off x="8169779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54" name="Google Shape;254;p11"/>
            <p:cNvGrpSpPr/>
            <p:nvPr/>
          </p:nvGrpSpPr>
          <p:grpSpPr>
            <a:xfrm>
              <a:off x="7427070" y="4309200"/>
              <a:ext cx="231600" cy="834300"/>
              <a:chOff x="7427070" y="4309200"/>
              <a:chExt cx="231600" cy="834300"/>
            </a:xfrm>
          </p:grpSpPr>
          <p:sp>
            <p:nvSpPr>
              <p:cNvPr id="255" name="Google Shape;255;p11"/>
              <p:cNvSpPr/>
              <p:nvPr/>
            </p:nvSpPr>
            <p:spPr>
              <a:xfrm flipH="1">
                <a:off x="7427070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56" name="Google Shape;256;p11"/>
              <p:cNvSpPr/>
              <p:nvPr/>
            </p:nvSpPr>
            <p:spPr>
              <a:xfrm flipH="1">
                <a:off x="7427070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57" name="Google Shape;257;p11"/>
              <p:cNvSpPr/>
              <p:nvPr/>
            </p:nvSpPr>
            <p:spPr>
              <a:xfrm flipH="1">
                <a:off x="7427070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58" name="Google Shape;258;p11"/>
              <p:cNvSpPr/>
              <p:nvPr/>
            </p:nvSpPr>
            <p:spPr>
              <a:xfrm flipH="1">
                <a:off x="7427070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59" name="Google Shape;259;p11"/>
            <p:cNvGrpSpPr/>
            <p:nvPr/>
          </p:nvGrpSpPr>
          <p:grpSpPr>
            <a:xfrm>
              <a:off x="8541133" y="4518900"/>
              <a:ext cx="231600" cy="624600"/>
              <a:chOff x="8541133" y="4518900"/>
              <a:chExt cx="231600" cy="624600"/>
            </a:xfrm>
          </p:grpSpPr>
          <p:sp>
            <p:nvSpPr>
              <p:cNvPr id="260" name="Google Shape;260;p11"/>
              <p:cNvSpPr/>
              <p:nvPr/>
            </p:nvSpPr>
            <p:spPr>
              <a:xfrm flipH="1">
                <a:off x="8541133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61" name="Google Shape;261;p11"/>
              <p:cNvSpPr/>
              <p:nvPr/>
            </p:nvSpPr>
            <p:spPr>
              <a:xfrm flipH="1">
                <a:off x="8541133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62" name="Google Shape;262;p11"/>
              <p:cNvSpPr/>
              <p:nvPr/>
            </p:nvSpPr>
            <p:spPr>
              <a:xfrm flipH="1">
                <a:off x="8541133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grpSp>
          <p:nvGrpSpPr>
            <p:cNvPr id="263" name="Google Shape;263;p11"/>
            <p:cNvGrpSpPr/>
            <p:nvPr/>
          </p:nvGrpSpPr>
          <p:grpSpPr>
            <a:xfrm>
              <a:off x="8912488" y="4309200"/>
              <a:ext cx="231600" cy="834300"/>
              <a:chOff x="8912488" y="4309200"/>
              <a:chExt cx="231600" cy="834300"/>
            </a:xfrm>
          </p:grpSpPr>
          <p:sp>
            <p:nvSpPr>
              <p:cNvPr id="264" name="Google Shape;264;p11"/>
              <p:cNvSpPr/>
              <p:nvPr/>
            </p:nvSpPr>
            <p:spPr>
              <a:xfrm flipH="1">
                <a:off x="8912488" y="4728600"/>
                <a:ext cx="231600" cy="4149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65" name="Google Shape;265;p11"/>
              <p:cNvSpPr/>
              <p:nvPr/>
            </p:nvSpPr>
            <p:spPr>
              <a:xfrm flipH="1">
                <a:off x="8912488" y="4309200"/>
                <a:ext cx="231600" cy="8343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66" name="Google Shape;266;p11"/>
              <p:cNvSpPr/>
              <p:nvPr/>
            </p:nvSpPr>
            <p:spPr>
              <a:xfrm flipH="1">
                <a:off x="8912488" y="4518900"/>
                <a:ext cx="231600" cy="6246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67" name="Google Shape;267;p11"/>
              <p:cNvSpPr/>
              <p:nvPr/>
            </p:nvSpPr>
            <p:spPr>
              <a:xfrm flipH="1">
                <a:off x="8912488" y="4938300"/>
                <a:ext cx="231600" cy="2052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lt1">
                  <a:alpha val="902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</p:grpSp>
      <p:sp>
        <p:nvSpPr>
          <p:cNvPr id="268" name="Google Shape;268;p11"/>
          <p:cNvSpPr txBox="1">
            <a:spLocks noGrp="1"/>
          </p:cNvSpPr>
          <p:nvPr>
            <p:ph type="title" hasCustomPrompt="1"/>
          </p:nvPr>
        </p:nvSpPr>
        <p:spPr>
          <a:xfrm>
            <a:off x="1851500" y="1030300"/>
            <a:ext cx="8489200" cy="248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10666">
                <a:solidFill>
                  <a:schemeClr val="lt1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10666">
                <a:solidFill>
                  <a:schemeClr val="lt1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10666">
                <a:solidFill>
                  <a:schemeClr val="lt1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10666">
                <a:solidFill>
                  <a:schemeClr val="lt1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10666">
                <a:solidFill>
                  <a:schemeClr val="lt1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10666">
                <a:solidFill>
                  <a:schemeClr val="lt1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10666">
                <a:solidFill>
                  <a:schemeClr val="lt1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10666">
                <a:solidFill>
                  <a:schemeClr val="lt1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10666">
                <a:solidFill>
                  <a:schemeClr val="lt1"/>
                </a:solidFill>
              </a:defRPr>
            </a:lvl9pPr>
          </a:lstStyle>
          <a:p>
            <a:r>
              <a:rPr dirty="0"/>
              <a:t>xx%</a:t>
            </a:r>
          </a:p>
        </p:txBody>
      </p:sp>
      <p:sp>
        <p:nvSpPr>
          <p:cNvPr id="269" name="Google Shape;269;p11"/>
          <p:cNvSpPr txBox="1">
            <a:spLocks noGrp="1"/>
          </p:cNvSpPr>
          <p:nvPr>
            <p:ph type="body" idx="1"/>
          </p:nvPr>
        </p:nvSpPr>
        <p:spPr>
          <a:xfrm>
            <a:off x="1851500" y="3616400"/>
            <a:ext cx="8489200" cy="148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14856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>
                <a:solidFill>
                  <a:schemeClr val="lt1"/>
                </a:solidFill>
              </a:defRPr>
            </a:lvl1pPr>
            <a:lvl2pPr marL="1219170" lvl="1" indent="-39792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>
                <a:solidFill>
                  <a:schemeClr val="lt1"/>
                </a:solidFill>
              </a:defRPr>
            </a:lvl2pPr>
            <a:lvl3pPr marL="1828754" lvl="2" indent="-39792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>
                <a:solidFill>
                  <a:schemeClr val="lt1"/>
                </a:solidFill>
              </a:defRPr>
            </a:lvl3pPr>
            <a:lvl4pPr marL="2438339" lvl="3" indent="-39792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>
                <a:solidFill>
                  <a:schemeClr val="lt1"/>
                </a:solidFill>
              </a:defRPr>
            </a:lvl4pPr>
            <a:lvl5pPr marL="3047924" lvl="4" indent="-39792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>
                <a:solidFill>
                  <a:schemeClr val="lt1"/>
                </a:solidFill>
              </a:defRPr>
            </a:lvl5pPr>
            <a:lvl6pPr marL="3657509" lvl="5" indent="-39792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>
                <a:solidFill>
                  <a:schemeClr val="lt1"/>
                </a:solidFill>
              </a:defRPr>
            </a:lvl6pPr>
            <a:lvl7pPr marL="4267093" lvl="6" indent="-39792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>
                <a:solidFill>
                  <a:schemeClr val="lt1"/>
                </a:solidFill>
              </a:defRPr>
            </a:lvl7pPr>
            <a:lvl8pPr marL="4876678" lvl="7" indent="-39792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>
                <a:solidFill>
                  <a:schemeClr val="lt1"/>
                </a:solidFill>
              </a:defRPr>
            </a:lvl8pPr>
            <a:lvl9pPr marL="5486263" lvl="8" indent="-39792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70" name="Google Shape;270;p11"/>
          <p:cNvSpPr txBox="1">
            <a:spLocks noGrp="1"/>
          </p:cNvSpPr>
          <p:nvPr>
            <p:ph type="sldNum" idx="12"/>
          </p:nvPr>
        </p:nvSpPr>
        <p:spPr>
          <a:xfrm>
            <a:off x="11268061" y="6315968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028352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12"/>
          <p:cNvSpPr txBox="1">
            <a:spLocks noGrp="1"/>
          </p:cNvSpPr>
          <p:nvPr>
            <p:ph type="sldNum" idx="12"/>
          </p:nvPr>
        </p:nvSpPr>
        <p:spPr>
          <a:xfrm>
            <a:off x="11268061" y="6315968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08184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733D5EF-FA0E-4CCF-A902-F12592329F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654601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733D5EF-FA0E-4CCF-A902-F12592329F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Maven Pro"/>
              <a:buNone/>
              <a:defRPr sz="2800" b="1">
                <a:solidFill>
                  <a:schemeClr val="dk2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Maven Pro"/>
              <a:buNone/>
              <a:defRPr sz="2800" b="1">
                <a:solidFill>
                  <a:schemeClr val="dk2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Maven Pro"/>
              <a:buNone/>
              <a:defRPr sz="2800" b="1">
                <a:solidFill>
                  <a:schemeClr val="dk2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Maven Pro"/>
              <a:buNone/>
              <a:defRPr sz="2800" b="1">
                <a:solidFill>
                  <a:schemeClr val="dk2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Maven Pro"/>
              <a:buNone/>
              <a:defRPr sz="2800" b="1">
                <a:solidFill>
                  <a:schemeClr val="dk2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Maven Pro"/>
              <a:buNone/>
              <a:defRPr sz="2800" b="1">
                <a:solidFill>
                  <a:schemeClr val="dk2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Maven Pro"/>
              <a:buNone/>
              <a:defRPr sz="2800" b="1">
                <a:solidFill>
                  <a:schemeClr val="dk2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Maven Pro"/>
              <a:buNone/>
              <a:defRPr sz="2800" b="1">
                <a:solidFill>
                  <a:schemeClr val="dk2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Maven Pro"/>
              <a:buNone/>
              <a:defRPr sz="2800" b="1">
                <a:solidFill>
                  <a:schemeClr val="dk2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Nunito"/>
              <a:buChar char="●"/>
              <a:defRPr sz="13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marL="914400" lvl="1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unito"/>
              <a:buChar char="○"/>
              <a:defRPr sz="11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marL="1371600" lvl="2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unito"/>
              <a:buChar char="■"/>
              <a:defRPr sz="11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marL="1828800" lvl="3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unito"/>
              <a:buChar char="●"/>
              <a:defRPr sz="11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marL="2286000" lvl="4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unito"/>
              <a:buChar char="○"/>
              <a:defRPr sz="11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marL="2743200" lvl="5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unito"/>
              <a:buChar char="■"/>
              <a:defRPr sz="11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marL="3200400" lvl="6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unito"/>
              <a:buChar char="●"/>
              <a:defRPr sz="11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marL="3657600" lvl="7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unito"/>
              <a:buChar char="○"/>
              <a:defRPr sz="11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marL="4114800" lvl="8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unito"/>
              <a:buChar char="■"/>
              <a:defRPr sz="11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68061" y="6315968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2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1pPr>
            <a:lvl2pPr lvl="1" algn="r">
              <a:buNone/>
              <a:defRPr sz="12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2pPr>
            <a:lvl3pPr lvl="2" algn="r">
              <a:buNone/>
              <a:defRPr sz="12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3pPr>
            <a:lvl4pPr lvl="3" algn="r">
              <a:buNone/>
              <a:defRPr sz="12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4pPr>
            <a:lvl5pPr lvl="4" algn="r">
              <a:buNone/>
              <a:defRPr sz="12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5pPr>
            <a:lvl6pPr lvl="5" algn="r">
              <a:buNone/>
              <a:defRPr sz="12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6pPr>
            <a:lvl7pPr lvl="6" algn="r">
              <a:buNone/>
              <a:defRPr sz="12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7pPr>
            <a:lvl8pPr lvl="7" algn="r">
              <a:buNone/>
              <a:defRPr sz="12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8pPr>
            <a:lvl9pPr lvl="8" algn="r">
              <a:buNone/>
              <a:defRPr sz="1200">
                <a:solidFill>
                  <a:schemeClr val="dk2"/>
                </a:solidFill>
                <a:latin typeface="Nunito"/>
                <a:ea typeface="Nunito"/>
                <a:cs typeface="Nunito"/>
                <a:sym typeface="Nunito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57676882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1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7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microsoft.com/office/2007/relationships/hdphoto" Target="../media/hdphoto2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D18B3B3-320F-44DA-9264-B9CC041E5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708663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D18B3B3-320F-44DA-9264-B9CC041E5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7" name="Google Shape;277;p13"/>
          <p:cNvSpPr txBox="1">
            <a:spLocks noGrp="1"/>
          </p:cNvSpPr>
          <p:nvPr>
            <p:ph type="ctrTitle"/>
          </p:nvPr>
        </p:nvSpPr>
        <p:spPr>
          <a:xfrm>
            <a:off x="979892" y="2371193"/>
            <a:ext cx="9739815" cy="1967808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" sz="5067" dirty="0"/>
              <a:t>Job Readiness in AI &amp; </a:t>
            </a:r>
            <a:br>
              <a:rPr lang="en" sz="5067" dirty="0"/>
            </a:br>
            <a:r>
              <a:rPr lang="en" sz="5067" dirty="0"/>
              <a:t>Data Science</a:t>
            </a:r>
            <a:endParaRPr sz="5067" dirty="0"/>
          </a:p>
        </p:txBody>
      </p:sp>
      <p:sp>
        <p:nvSpPr>
          <p:cNvPr id="278" name="Google Shape;278;p13"/>
          <p:cNvSpPr txBox="1">
            <a:spLocks noGrp="1"/>
          </p:cNvSpPr>
          <p:nvPr>
            <p:ph type="subTitle" idx="1"/>
          </p:nvPr>
        </p:nvSpPr>
        <p:spPr>
          <a:xfrm>
            <a:off x="979891" y="4329241"/>
            <a:ext cx="9739815" cy="9272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pPr marL="0" indent="0"/>
            <a:r>
              <a:rPr lang="en" sz="2400" dirty="0"/>
              <a:t>Aniket Chhabra (Lead Data Scientist - PayPal)</a:t>
            </a:r>
            <a:endParaRPr sz="24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B3BF58-9D50-42DA-AB47-F79891CF17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317419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B3BF58-9D50-42DA-AB47-F79891CF1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3" name="Google Shape;283;p14"/>
          <p:cNvSpPr txBox="1">
            <a:spLocks noGrp="1"/>
          </p:cNvSpPr>
          <p:nvPr>
            <p:ph type="ctrTitle"/>
          </p:nvPr>
        </p:nvSpPr>
        <p:spPr>
          <a:xfrm>
            <a:off x="224734" y="-100940"/>
            <a:ext cx="11797600" cy="9272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r>
              <a:rPr lang="en-US" sz="4133" dirty="0"/>
              <a:t>Data Science Readiness Toolkit</a:t>
            </a:r>
            <a:endParaRPr sz="4133" dirty="0"/>
          </a:p>
        </p:txBody>
      </p:sp>
      <p:sp>
        <p:nvSpPr>
          <p:cNvPr id="8" name="Google Shape;284;p14">
            <a:extLst>
              <a:ext uri="{FF2B5EF4-FFF2-40B4-BE49-F238E27FC236}">
                <a16:creationId xmlns:a16="http://schemas.microsoft.com/office/drawing/2014/main" id="{5BC828C7-A50B-4B88-BA9A-D6E8DF31448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8184" y="549753"/>
            <a:ext cx="11655631" cy="573589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pPr marL="0" indent="0"/>
            <a:r>
              <a:rPr lang="en-US" sz="2000" dirty="0"/>
              <a:t>Grow yourself as a Data Scientist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8D9AD09C-7EB0-409B-91B6-6D607DBE67E9}"/>
              </a:ext>
            </a:extLst>
          </p:cNvPr>
          <p:cNvSpPr/>
          <p:nvPr/>
        </p:nvSpPr>
        <p:spPr>
          <a:xfrm>
            <a:off x="5514408" y="1228161"/>
            <a:ext cx="2639925" cy="2228034"/>
          </a:xfrm>
          <a:custGeom>
            <a:avLst/>
            <a:gdLst>
              <a:gd name="connsiteX0" fmla="*/ 1784237 w 2894839"/>
              <a:gd name="connsiteY0" fmla="*/ 0 h 2443174"/>
              <a:gd name="connsiteX1" fmla="*/ 1979160 w 2894839"/>
              <a:gd name="connsiteY1" fmla="*/ 52140 h 2443174"/>
              <a:gd name="connsiteX2" fmla="*/ 2699357 w 2894839"/>
              <a:gd name="connsiteY2" fmla="*/ 467883 h 2443174"/>
              <a:gd name="connsiteX3" fmla="*/ 2894839 w 2894839"/>
              <a:gd name="connsiteY3" fmla="*/ 806075 h 2443174"/>
              <a:gd name="connsiteX4" fmla="*/ 2894839 w 2894839"/>
              <a:gd name="connsiteY4" fmla="*/ 1637674 h 2443174"/>
              <a:gd name="connsiteX5" fmla="*/ 2700034 w 2894839"/>
              <a:gd name="connsiteY5" fmla="*/ 1975292 h 2443174"/>
              <a:gd name="connsiteX6" fmla="*/ 2544161 w 2894839"/>
              <a:gd name="connsiteY6" fmla="*/ 2065272 h 2443174"/>
              <a:gd name="connsiteX7" fmla="*/ 2465321 w 2894839"/>
              <a:gd name="connsiteY7" fmla="*/ 2062671 h 2443174"/>
              <a:gd name="connsiteX8" fmla="*/ 2336682 w 2894839"/>
              <a:gd name="connsiteY8" fmla="*/ 1970256 h 2443174"/>
              <a:gd name="connsiteX9" fmla="*/ 2312223 w 2894839"/>
              <a:gd name="connsiteY9" fmla="*/ 1843078 h 2443174"/>
              <a:gd name="connsiteX10" fmla="*/ 2319006 w 2894839"/>
              <a:gd name="connsiteY10" fmla="*/ 1811416 h 2443174"/>
              <a:gd name="connsiteX11" fmla="*/ 2317773 w 2894839"/>
              <a:gd name="connsiteY11" fmla="*/ 1748750 h 2443174"/>
              <a:gd name="connsiteX12" fmla="*/ 2294239 w 2894839"/>
              <a:gd name="connsiteY12" fmla="*/ 1683578 h 2443174"/>
              <a:gd name="connsiteX13" fmla="*/ 1972783 w 2894839"/>
              <a:gd name="connsiteY13" fmla="*/ 1644396 h 2443174"/>
              <a:gd name="connsiteX14" fmla="*/ 1918419 w 2894839"/>
              <a:gd name="connsiteY14" fmla="*/ 1810492 h 2443174"/>
              <a:gd name="connsiteX15" fmla="*/ 1988609 w 2894839"/>
              <a:gd name="connsiteY15" fmla="*/ 1938593 h 2443174"/>
              <a:gd name="connsiteX16" fmla="*/ 2043179 w 2894839"/>
              <a:gd name="connsiteY16" fmla="*/ 1971443 h 2443174"/>
              <a:gd name="connsiteX17" fmla="*/ 2071748 w 2894839"/>
              <a:gd name="connsiteY17" fmla="*/ 1980810 h 2443174"/>
              <a:gd name="connsiteX18" fmla="*/ 2170096 w 2894839"/>
              <a:gd name="connsiteY18" fmla="*/ 2065507 h 2443174"/>
              <a:gd name="connsiteX19" fmla="*/ 2185023 w 2894839"/>
              <a:gd name="connsiteY19" fmla="*/ 2223127 h 2443174"/>
              <a:gd name="connsiteX20" fmla="*/ 2147581 w 2894839"/>
              <a:gd name="connsiteY20" fmla="*/ 2294203 h 2443174"/>
              <a:gd name="connsiteX21" fmla="*/ 1979837 w 2894839"/>
              <a:gd name="connsiteY21" fmla="*/ 2391035 h 2443174"/>
              <a:gd name="connsiteX22" fmla="*/ 1590091 w 2894839"/>
              <a:gd name="connsiteY22" fmla="*/ 2391035 h 2443174"/>
              <a:gd name="connsiteX23" fmla="*/ 869894 w 2894839"/>
              <a:gd name="connsiteY23" fmla="*/ 1975292 h 2443174"/>
              <a:gd name="connsiteX24" fmla="*/ 675089 w 2894839"/>
              <a:gd name="connsiteY24" fmla="*/ 1637674 h 2443174"/>
              <a:gd name="connsiteX25" fmla="*/ 675089 w 2894839"/>
              <a:gd name="connsiteY25" fmla="*/ 1534312 h 2443174"/>
              <a:gd name="connsiteX26" fmla="*/ 471214 w 2894839"/>
              <a:gd name="connsiteY26" fmla="*/ 1317722 h 2443174"/>
              <a:gd name="connsiteX27" fmla="*/ 348699 w 2894839"/>
              <a:gd name="connsiteY27" fmla="*/ 1360627 h 2443174"/>
              <a:gd name="connsiteX28" fmla="*/ 326362 w 2894839"/>
              <a:gd name="connsiteY28" fmla="*/ 1380818 h 2443174"/>
              <a:gd name="connsiteX29" fmla="*/ 270452 w 2894839"/>
              <a:gd name="connsiteY29" fmla="*/ 1411448 h 2443174"/>
              <a:gd name="connsiteX30" fmla="*/ 124382 w 2894839"/>
              <a:gd name="connsiteY30" fmla="*/ 1408121 h 2443174"/>
              <a:gd name="connsiteX31" fmla="*/ 7689 w 2894839"/>
              <a:gd name="connsiteY31" fmla="*/ 1278029 h 2443174"/>
              <a:gd name="connsiteX32" fmla="*/ 202223 w 2894839"/>
              <a:gd name="connsiteY32" fmla="*/ 1019338 h 2443174"/>
              <a:gd name="connsiteX33" fmla="*/ 270452 w 2894839"/>
              <a:gd name="connsiteY33" fmla="*/ 1031383 h 2443174"/>
              <a:gd name="connsiteX34" fmla="*/ 325415 w 2894839"/>
              <a:gd name="connsiteY34" fmla="*/ 1061440 h 2443174"/>
              <a:gd name="connsiteX35" fmla="*/ 349241 w 2894839"/>
              <a:gd name="connsiteY35" fmla="*/ 1083236 h 2443174"/>
              <a:gd name="connsiteX36" fmla="*/ 471485 w 2894839"/>
              <a:gd name="connsiteY36" fmla="*/ 1125453 h 2443174"/>
              <a:gd name="connsiteX37" fmla="*/ 674412 w 2894839"/>
              <a:gd name="connsiteY37" fmla="*/ 908863 h 2443174"/>
              <a:gd name="connsiteX38" fmla="*/ 674412 w 2894839"/>
              <a:gd name="connsiteY38" fmla="*/ 805501 h 2443174"/>
              <a:gd name="connsiteX39" fmla="*/ 869353 w 2894839"/>
              <a:gd name="connsiteY39" fmla="*/ 467883 h 2443174"/>
              <a:gd name="connsiteX40" fmla="*/ 1589414 w 2894839"/>
              <a:gd name="connsiteY40" fmla="*/ 52140 h 2443174"/>
              <a:gd name="connsiteX41" fmla="*/ 1784237 w 2894839"/>
              <a:gd name="connsiteY41" fmla="*/ 0 h 2443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2894839" h="2443174">
                <a:moveTo>
                  <a:pt x="1784237" y="0"/>
                </a:moveTo>
                <a:cubicBezTo>
                  <a:pt x="1851535" y="0"/>
                  <a:pt x="1918851" y="17380"/>
                  <a:pt x="1979160" y="52140"/>
                </a:cubicBezTo>
                <a:lnTo>
                  <a:pt x="2699357" y="467883"/>
                </a:lnTo>
                <a:cubicBezTo>
                  <a:pt x="2819706" y="537402"/>
                  <a:pt x="2894162" y="666232"/>
                  <a:pt x="2894839" y="806075"/>
                </a:cubicBezTo>
                <a:lnTo>
                  <a:pt x="2894839" y="1637674"/>
                </a:lnTo>
                <a:cubicBezTo>
                  <a:pt x="2894839" y="1776943"/>
                  <a:pt x="2820653" y="1905773"/>
                  <a:pt x="2700034" y="1975292"/>
                </a:cubicBezTo>
                <a:lnTo>
                  <a:pt x="2544161" y="2065272"/>
                </a:lnTo>
                <a:lnTo>
                  <a:pt x="2465321" y="2062671"/>
                </a:lnTo>
                <a:cubicBezTo>
                  <a:pt x="2412575" y="2051028"/>
                  <a:pt x="2365097" y="2019861"/>
                  <a:pt x="2336682" y="1970256"/>
                </a:cubicBezTo>
                <a:cubicBezTo>
                  <a:pt x="2313765" y="1930150"/>
                  <a:pt x="2306263" y="1885559"/>
                  <a:pt x="2312223" y="1843078"/>
                </a:cubicBezTo>
                <a:cubicBezTo>
                  <a:pt x="2315306" y="1832788"/>
                  <a:pt x="2317464" y="1822234"/>
                  <a:pt x="2319006" y="1811416"/>
                </a:cubicBezTo>
                <a:cubicBezTo>
                  <a:pt x="2321780" y="1790835"/>
                  <a:pt x="2321472" y="1769727"/>
                  <a:pt x="2317773" y="1748750"/>
                </a:cubicBezTo>
                <a:cubicBezTo>
                  <a:pt x="2313765" y="1726323"/>
                  <a:pt x="2305954" y="1704291"/>
                  <a:pt x="2294239" y="1683578"/>
                </a:cubicBezTo>
                <a:cubicBezTo>
                  <a:pt x="2229393" y="1570912"/>
                  <a:pt x="2072056" y="1544527"/>
                  <a:pt x="1972783" y="1644396"/>
                </a:cubicBezTo>
                <a:cubicBezTo>
                  <a:pt x="1929929" y="1687536"/>
                  <a:pt x="1910095" y="1750597"/>
                  <a:pt x="1918419" y="1810492"/>
                </a:cubicBezTo>
                <a:cubicBezTo>
                  <a:pt x="1926538" y="1866561"/>
                  <a:pt x="1953257" y="1908778"/>
                  <a:pt x="1988609" y="1938593"/>
                </a:cubicBezTo>
                <a:cubicBezTo>
                  <a:pt x="2005052" y="1952578"/>
                  <a:pt x="2023344" y="1963660"/>
                  <a:pt x="2043179" y="1971443"/>
                </a:cubicBezTo>
                <a:cubicBezTo>
                  <a:pt x="2052530" y="1975137"/>
                  <a:pt x="2062088" y="1978304"/>
                  <a:pt x="2071748" y="1980810"/>
                </a:cubicBezTo>
                <a:cubicBezTo>
                  <a:pt x="2111416" y="1996905"/>
                  <a:pt x="2146871" y="2025797"/>
                  <a:pt x="2170096" y="2065507"/>
                </a:cubicBezTo>
                <a:cubicBezTo>
                  <a:pt x="2198511" y="2113925"/>
                  <a:pt x="2201389" y="2171082"/>
                  <a:pt x="2185023" y="2223127"/>
                </a:cubicBezTo>
                <a:lnTo>
                  <a:pt x="2147581" y="2294203"/>
                </a:lnTo>
                <a:lnTo>
                  <a:pt x="1979837" y="2391035"/>
                </a:lnTo>
                <a:cubicBezTo>
                  <a:pt x="1859488" y="2460554"/>
                  <a:pt x="1710846" y="2460554"/>
                  <a:pt x="1590091" y="2391035"/>
                </a:cubicBezTo>
                <a:lnTo>
                  <a:pt x="869894" y="1975292"/>
                </a:lnTo>
                <a:cubicBezTo>
                  <a:pt x="749275" y="1905428"/>
                  <a:pt x="675089" y="1776943"/>
                  <a:pt x="675089" y="1637674"/>
                </a:cubicBezTo>
                <a:lnTo>
                  <a:pt x="675089" y="1534312"/>
                </a:lnTo>
                <a:cubicBezTo>
                  <a:pt x="675089" y="1422002"/>
                  <a:pt x="583575" y="1316804"/>
                  <a:pt x="471214" y="1317722"/>
                </a:cubicBezTo>
                <a:cubicBezTo>
                  <a:pt x="425051" y="1318066"/>
                  <a:pt x="382543" y="1334242"/>
                  <a:pt x="348699" y="1360627"/>
                </a:cubicBezTo>
                <a:cubicBezTo>
                  <a:pt x="341524" y="1367740"/>
                  <a:pt x="334079" y="1374508"/>
                  <a:pt x="326362" y="1380818"/>
                </a:cubicBezTo>
                <a:cubicBezTo>
                  <a:pt x="309576" y="1393781"/>
                  <a:pt x="290623" y="1403991"/>
                  <a:pt x="270452" y="1411448"/>
                </a:cubicBezTo>
                <a:cubicBezTo>
                  <a:pt x="226997" y="1427050"/>
                  <a:pt x="176772" y="1429115"/>
                  <a:pt x="124382" y="1408121"/>
                </a:cubicBezTo>
                <a:cubicBezTo>
                  <a:pt x="68201" y="1385407"/>
                  <a:pt x="23528" y="1336651"/>
                  <a:pt x="7689" y="1278029"/>
                </a:cubicBezTo>
                <a:cubicBezTo>
                  <a:pt x="-29269" y="1142202"/>
                  <a:pt x="72127" y="1019338"/>
                  <a:pt x="202223" y="1019338"/>
                </a:cubicBezTo>
                <a:cubicBezTo>
                  <a:pt x="226049" y="1019338"/>
                  <a:pt x="249063" y="1023582"/>
                  <a:pt x="270452" y="1031383"/>
                </a:cubicBezTo>
                <a:cubicBezTo>
                  <a:pt x="290352" y="1038496"/>
                  <a:pt x="308899" y="1048706"/>
                  <a:pt x="325415" y="1061440"/>
                </a:cubicBezTo>
                <a:cubicBezTo>
                  <a:pt x="333808" y="1067979"/>
                  <a:pt x="341795" y="1075435"/>
                  <a:pt x="349241" y="1083236"/>
                </a:cubicBezTo>
                <a:cubicBezTo>
                  <a:pt x="383085" y="1109277"/>
                  <a:pt x="425322" y="1125109"/>
                  <a:pt x="471485" y="1125453"/>
                </a:cubicBezTo>
                <a:cubicBezTo>
                  <a:pt x="585741" y="1125682"/>
                  <a:pt x="674412" y="1023353"/>
                  <a:pt x="674412" y="908863"/>
                </a:cubicBezTo>
                <a:lnTo>
                  <a:pt x="674412" y="805501"/>
                </a:lnTo>
                <a:cubicBezTo>
                  <a:pt x="674412" y="666232"/>
                  <a:pt x="748598" y="537402"/>
                  <a:pt x="869353" y="467883"/>
                </a:cubicBezTo>
                <a:lnTo>
                  <a:pt x="1589414" y="52140"/>
                </a:lnTo>
                <a:cubicBezTo>
                  <a:pt x="1649657" y="17380"/>
                  <a:pt x="1716938" y="0"/>
                  <a:pt x="1784237" y="0"/>
                </a:cubicBezTo>
                <a:close/>
              </a:path>
            </a:pathLst>
          </a:custGeom>
          <a:solidFill>
            <a:srgbClr val="F3774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sz="800">
              <a:solidFill>
                <a:prstClr val="white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CF5E752-A209-4F70-886E-46992EE364A6}"/>
              </a:ext>
            </a:extLst>
          </p:cNvPr>
          <p:cNvSpPr/>
          <p:nvPr/>
        </p:nvSpPr>
        <p:spPr>
          <a:xfrm>
            <a:off x="6186269" y="1933248"/>
            <a:ext cx="1858698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/>
            <a:r>
              <a:rPr 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nkedIn</a:t>
            </a:r>
          </a:p>
        </p:txBody>
      </p:sp>
      <p:sp>
        <p:nvSpPr>
          <p:cNvPr id="11" name="Shape">
            <a:extLst>
              <a:ext uri="{FF2B5EF4-FFF2-40B4-BE49-F238E27FC236}">
                <a16:creationId xmlns:a16="http://schemas.microsoft.com/office/drawing/2014/main" id="{F2EB64A7-6B09-43FE-B6B8-1D76BC6A8BA1}"/>
              </a:ext>
            </a:extLst>
          </p:cNvPr>
          <p:cNvSpPr/>
          <p:nvPr/>
        </p:nvSpPr>
        <p:spPr>
          <a:xfrm>
            <a:off x="7154644" y="2671219"/>
            <a:ext cx="2024303" cy="25482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81" extrusionOk="0">
                <a:moveTo>
                  <a:pt x="21597" y="15080"/>
                </a:moveTo>
                <a:lnTo>
                  <a:pt x="21600" y="8777"/>
                </a:lnTo>
                <a:cubicBezTo>
                  <a:pt x="21600" y="7721"/>
                  <a:pt x="20878" y="6745"/>
                  <a:pt x="19704" y="6218"/>
                </a:cubicBezTo>
                <a:lnTo>
                  <a:pt x="12699" y="3064"/>
                </a:lnTo>
                <a:cubicBezTo>
                  <a:pt x="11525" y="2535"/>
                  <a:pt x="10081" y="2535"/>
                  <a:pt x="8907" y="3062"/>
                </a:cubicBezTo>
                <a:lnTo>
                  <a:pt x="8037" y="3453"/>
                </a:lnTo>
                <a:cubicBezTo>
                  <a:pt x="7074" y="3885"/>
                  <a:pt x="5779" y="3692"/>
                  <a:pt x="5226" y="2940"/>
                </a:cubicBezTo>
                <a:cubicBezTo>
                  <a:pt x="5003" y="2636"/>
                  <a:pt x="4930" y="2298"/>
                  <a:pt x="4988" y="1976"/>
                </a:cubicBezTo>
                <a:cubicBezTo>
                  <a:pt x="5018" y="1898"/>
                  <a:pt x="5039" y="1818"/>
                  <a:pt x="5054" y="1736"/>
                </a:cubicBezTo>
                <a:cubicBezTo>
                  <a:pt x="5081" y="1580"/>
                  <a:pt x="5078" y="1420"/>
                  <a:pt x="5042" y="1261"/>
                </a:cubicBezTo>
                <a:cubicBezTo>
                  <a:pt x="5003" y="1091"/>
                  <a:pt x="4927" y="924"/>
                  <a:pt x="4813" y="767"/>
                </a:cubicBezTo>
                <a:cubicBezTo>
                  <a:pt x="4182" y="-87"/>
                  <a:pt x="2651" y="-287"/>
                  <a:pt x="1685" y="470"/>
                </a:cubicBezTo>
                <a:cubicBezTo>
                  <a:pt x="1268" y="797"/>
                  <a:pt x="1075" y="1275"/>
                  <a:pt x="1156" y="1729"/>
                </a:cubicBezTo>
                <a:cubicBezTo>
                  <a:pt x="1235" y="2154"/>
                  <a:pt x="1495" y="2474"/>
                  <a:pt x="1839" y="2700"/>
                </a:cubicBezTo>
                <a:cubicBezTo>
                  <a:pt x="1999" y="2806"/>
                  <a:pt x="2177" y="2890"/>
                  <a:pt x="2370" y="2949"/>
                </a:cubicBezTo>
                <a:cubicBezTo>
                  <a:pt x="2461" y="2977"/>
                  <a:pt x="2554" y="3001"/>
                  <a:pt x="2648" y="3020"/>
                </a:cubicBezTo>
                <a:cubicBezTo>
                  <a:pt x="3034" y="3142"/>
                  <a:pt x="3379" y="3361"/>
                  <a:pt x="3605" y="3662"/>
                </a:cubicBezTo>
                <a:cubicBezTo>
                  <a:pt x="4158" y="4396"/>
                  <a:pt x="3717" y="5395"/>
                  <a:pt x="2772" y="5819"/>
                </a:cubicBezTo>
                <a:lnTo>
                  <a:pt x="1902" y="6209"/>
                </a:lnTo>
                <a:cubicBezTo>
                  <a:pt x="728" y="6736"/>
                  <a:pt x="6" y="7712"/>
                  <a:pt x="3" y="8768"/>
                </a:cubicBezTo>
                <a:lnTo>
                  <a:pt x="0" y="15071"/>
                </a:lnTo>
                <a:cubicBezTo>
                  <a:pt x="0" y="16127"/>
                  <a:pt x="722" y="17103"/>
                  <a:pt x="1896" y="17630"/>
                </a:cubicBezTo>
                <a:lnTo>
                  <a:pt x="8901" y="20784"/>
                </a:lnTo>
                <a:cubicBezTo>
                  <a:pt x="10075" y="21313"/>
                  <a:pt x="11519" y="21313"/>
                  <a:pt x="12693" y="20786"/>
                </a:cubicBezTo>
                <a:lnTo>
                  <a:pt x="19704" y="17637"/>
                </a:lnTo>
                <a:cubicBezTo>
                  <a:pt x="20875" y="17110"/>
                  <a:pt x="21597" y="16134"/>
                  <a:pt x="21597" y="15080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10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774F37E2-CBB0-44E3-A30C-14538BFC1366}"/>
              </a:ext>
            </a:extLst>
          </p:cNvPr>
          <p:cNvSpPr/>
          <p:nvPr/>
        </p:nvSpPr>
        <p:spPr>
          <a:xfrm>
            <a:off x="5117326" y="2982475"/>
            <a:ext cx="2639948" cy="22280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84" h="21297" extrusionOk="0">
                <a:moveTo>
                  <a:pt x="1444" y="4079"/>
                </a:moveTo>
                <a:lnTo>
                  <a:pt x="6764" y="455"/>
                </a:lnTo>
                <a:cubicBezTo>
                  <a:pt x="7655" y="-151"/>
                  <a:pt x="8753" y="-151"/>
                  <a:pt x="9643" y="455"/>
                </a:cubicBezTo>
                <a:lnTo>
                  <a:pt x="14962" y="4079"/>
                </a:lnTo>
                <a:cubicBezTo>
                  <a:pt x="15854" y="4685"/>
                  <a:pt x="16402" y="5808"/>
                  <a:pt x="16402" y="7022"/>
                </a:cubicBezTo>
                <a:lnTo>
                  <a:pt x="16402" y="7923"/>
                </a:lnTo>
                <a:cubicBezTo>
                  <a:pt x="16402" y="8921"/>
                  <a:pt x="17057" y="9813"/>
                  <a:pt x="17901" y="9811"/>
                </a:cubicBezTo>
                <a:cubicBezTo>
                  <a:pt x="18242" y="9808"/>
                  <a:pt x="18554" y="9670"/>
                  <a:pt x="18804" y="9443"/>
                </a:cubicBezTo>
                <a:cubicBezTo>
                  <a:pt x="18859" y="9375"/>
                  <a:pt x="18918" y="9310"/>
                  <a:pt x="18980" y="9253"/>
                </a:cubicBezTo>
                <a:cubicBezTo>
                  <a:pt x="19102" y="9142"/>
                  <a:pt x="19239" y="9053"/>
                  <a:pt x="19386" y="8991"/>
                </a:cubicBezTo>
                <a:cubicBezTo>
                  <a:pt x="19544" y="8923"/>
                  <a:pt x="19714" y="8886"/>
                  <a:pt x="19890" y="8886"/>
                </a:cubicBezTo>
                <a:cubicBezTo>
                  <a:pt x="20851" y="8886"/>
                  <a:pt x="21600" y="9957"/>
                  <a:pt x="21327" y="11141"/>
                </a:cubicBezTo>
                <a:cubicBezTo>
                  <a:pt x="21210" y="11652"/>
                  <a:pt x="20880" y="12077"/>
                  <a:pt x="20465" y="12275"/>
                </a:cubicBezTo>
                <a:cubicBezTo>
                  <a:pt x="20078" y="12458"/>
                  <a:pt x="19707" y="12440"/>
                  <a:pt x="19386" y="12304"/>
                </a:cubicBezTo>
                <a:cubicBezTo>
                  <a:pt x="19237" y="12239"/>
                  <a:pt x="19097" y="12150"/>
                  <a:pt x="18973" y="12037"/>
                </a:cubicBezTo>
                <a:cubicBezTo>
                  <a:pt x="18916" y="11982"/>
                  <a:pt x="18861" y="11923"/>
                  <a:pt x="18808" y="11861"/>
                </a:cubicBezTo>
                <a:cubicBezTo>
                  <a:pt x="18558" y="11631"/>
                  <a:pt x="18244" y="11490"/>
                  <a:pt x="17903" y="11487"/>
                </a:cubicBezTo>
                <a:cubicBezTo>
                  <a:pt x="17073" y="11479"/>
                  <a:pt x="16397" y="12396"/>
                  <a:pt x="16397" y="13375"/>
                </a:cubicBezTo>
                <a:lnTo>
                  <a:pt x="16397" y="14276"/>
                </a:lnTo>
                <a:cubicBezTo>
                  <a:pt x="16397" y="15490"/>
                  <a:pt x="15849" y="16610"/>
                  <a:pt x="14958" y="17219"/>
                </a:cubicBezTo>
                <a:lnTo>
                  <a:pt x="9638" y="20843"/>
                </a:lnTo>
                <a:cubicBezTo>
                  <a:pt x="8746" y="21449"/>
                  <a:pt x="7648" y="21449"/>
                  <a:pt x="6759" y="20843"/>
                </a:cubicBezTo>
                <a:lnTo>
                  <a:pt x="1439" y="17219"/>
                </a:lnTo>
                <a:cubicBezTo>
                  <a:pt x="548" y="16613"/>
                  <a:pt x="0" y="15490"/>
                  <a:pt x="0" y="14276"/>
                </a:cubicBezTo>
                <a:lnTo>
                  <a:pt x="0" y="7027"/>
                </a:lnTo>
                <a:cubicBezTo>
                  <a:pt x="5" y="5808"/>
                  <a:pt x="555" y="4688"/>
                  <a:pt x="1444" y="4079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1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849F70BC-F821-4FC4-BC71-AE52B21395C1}"/>
              </a:ext>
            </a:extLst>
          </p:cNvPr>
          <p:cNvSpPr/>
          <p:nvPr/>
        </p:nvSpPr>
        <p:spPr>
          <a:xfrm>
            <a:off x="3109598" y="2982475"/>
            <a:ext cx="2639951" cy="22280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84" h="21297" extrusionOk="0">
                <a:moveTo>
                  <a:pt x="1444" y="4079"/>
                </a:moveTo>
                <a:lnTo>
                  <a:pt x="6764" y="455"/>
                </a:lnTo>
                <a:cubicBezTo>
                  <a:pt x="7655" y="-151"/>
                  <a:pt x="8753" y="-151"/>
                  <a:pt x="9643" y="455"/>
                </a:cubicBezTo>
                <a:lnTo>
                  <a:pt x="14962" y="4079"/>
                </a:lnTo>
                <a:cubicBezTo>
                  <a:pt x="15854" y="4685"/>
                  <a:pt x="16402" y="5808"/>
                  <a:pt x="16402" y="7022"/>
                </a:cubicBezTo>
                <a:lnTo>
                  <a:pt x="16402" y="7923"/>
                </a:lnTo>
                <a:cubicBezTo>
                  <a:pt x="16402" y="8921"/>
                  <a:pt x="17057" y="9813"/>
                  <a:pt x="17901" y="9811"/>
                </a:cubicBezTo>
                <a:cubicBezTo>
                  <a:pt x="18242" y="9808"/>
                  <a:pt x="18554" y="9670"/>
                  <a:pt x="18804" y="9443"/>
                </a:cubicBezTo>
                <a:cubicBezTo>
                  <a:pt x="18859" y="9375"/>
                  <a:pt x="18918" y="9310"/>
                  <a:pt x="18980" y="9253"/>
                </a:cubicBezTo>
                <a:cubicBezTo>
                  <a:pt x="19102" y="9142"/>
                  <a:pt x="19239" y="9053"/>
                  <a:pt x="19386" y="8991"/>
                </a:cubicBezTo>
                <a:cubicBezTo>
                  <a:pt x="19544" y="8923"/>
                  <a:pt x="19714" y="8886"/>
                  <a:pt x="19890" y="8886"/>
                </a:cubicBezTo>
                <a:cubicBezTo>
                  <a:pt x="20851" y="8886"/>
                  <a:pt x="21600" y="9957"/>
                  <a:pt x="21327" y="11141"/>
                </a:cubicBezTo>
                <a:cubicBezTo>
                  <a:pt x="21210" y="11652"/>
                  <a:pt x="20880" y="12077"/>
                  <a:pt x="20465" y="12275"/>
                </a:cubicBezTo>
                <a:cubicBezTo>
                  <a:pt x="20078" y="12458"/>
                  <a:pt x="19707" y="12440"/>
                  <a:pt x="19386" y="12304"/>
                </a:cubicBezTo>
                <a:cubicBezTo>
                  <a:pt x="19237" y="12239"/>
                  <a:pt x="19097" y="12150"/>
                  <a:pt x="18973" y="12037"/>
                </a:cubicBezTo>
                <a:cubicBezTo>
                  <a:pt x="18916" y="11982"/>
                  <a:pt x="18861" y="11923"/>
                  <a:pt x="18808" y="11861"/>
                </a:cubicBezTo>
                <a:cubicBezTo>
                  <a:pt x="18558" y="11631"/>
                  <a:pt x="18244" y="11490"/>
                  <a:pt x="17903" y="11487"/>
                </a:cubicBezTo>
                <a:cubicBezTo>
                  <a:pt x="17073" y="11479"/>
                  <a:pt x="16397" y="12396"/>
                  <a:pt x="16397" y="13375"/>
                </a:cubicBezTo>
                <a:lnTo>
                  <a:pt x="16397" y="14276"/>
                </a:lnTo>
                <a:cubicBezTo>
                  <a:pt x="16397" y="15490"/>
                  <a:pt x="15849" y="16610"/>
                  <a:pt x="14958" y="17219"/>
                </a:cubicBezTo>
                <a:lnTo>
                  <a:pt x="9638" y="20843"/>
                </a:lnTo>
                <a:cubicBezTo>
                  <a:pt x="8746" y="21449"/>
                  <a:pt x="7648" y="21449"/>
                  <a:pt x="6759" y="20843"/>
                </a:cubicBezTo>
                <a:lnTo>
                  <a:pt x="1439" y="17219"/>
                </a:lnTo>
                <a:cubicBezTo>
                  <a:pt x="548" y="16613"/>
                  <a:pt x="0" y="15490"/>
                  <a:pt x="0" y="14276"/>
                </a:cubicBezTo>
                <a:lnTo>
                  <a:pt x="0" y="7027"/>
                </a:lnTo>
                <a:cubicBezTo>
                  <a:pt x="5" y="5808"/>
                  <a:pt x="555" y="4688"/>
                  <a:pt x="1444" y="4079"/>
                </a:cubicBezTo>
                <a:close/>
              </a:path>
            </a:pathLst>
          </a:custGeom>
          <a:solidFill>
            <a:srgbClr val="28B9D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1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6B7EC0-FB17-43A6-AA34-8042E4419967}"/>
              </a:ext>
            </a:extLst>
          </p:cNvPr>
          <p:cNvSpPr/>
          <p:nvPr/>
        </p:nvSpPr>
        <p:spPr>
          <a:xfrm>
            <a:off x="5763277" y="3813791"/>
            <a:ext cx="1246255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/>
            <a:r>
              <a:rPr lang="en-US" sz="2400" b="1" dirty="0">
                <a:solidFill>
                  <a:schemeClr val="bg1"/>
                </a:solidFill>
              </a:rPr>
              <a:t>GitHub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82F6039-4E8A-414B-B0CC-4474324EDA9F}"/>
              </a:ext>
            </a:extLst>
          </p:cNvPr>
          <p:cNvSpPr/>
          <p:nvPr/>
        </p:nvSpPr>
        <p:spPr>
          <a:xfrm>
            <a:off x="3267360" y="3823483"/>
            <a:ext cx="1856605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/>
            <a:r>
              <a:rPr 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ctors</a:t>
            </a:r>
            <a:endParaRPr lang="en-US" sz="28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B4B1269-8FCE-4141-AAEF-FF41FB0EA5E2}"/>
              </a:ext>
            </a:extLst>
          </p:cNvPr>
          <p:cNvSpPr/>
          <p:nvPr/>
        </p:nvSpPr>
        <p:spPr>
          <a:xfrm>
            <a:off x="7714312" y="3812924"/>
            <a:ext cx="1324506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/>
            <a:r>
              <a:rPr 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gg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A844D59-90D4-466F-A718-48D218C62BBF}"/>
              </a:ext>
            </a:extLst>
          </p:cNvPr>
          <p:cNvSpPr/>
          <p:nvPr/>
        </p:nvSpPr>
        <p:spPr>
          <a:xfrm>
            <a:off x="4098666" y="1228161"/>
            <a:ext cx="2024868" cy="2548280"/>
          </a:xfrm>
          <a:custGeom>
            <a:avLst/>
            <a:gdLst>
              <a:gd name="connsiteX0" fmla="*/ 1111236 w 2220390"/>
              <a:gd name="connsiteY0" fmla="*/ 1 h 2794344"/>
              <a:gd name="connsiteX1" fmla="*/ 1306021 w 2220390"/>
              <a:gd name="connsiteY1" fmla="*/ 52455 h 2794344"/>
              <a:gd name="connsiteX2" fmla="*/ 2025798 w 2220390"/>
              <a:gd name="connsiteY2" fmla="*/ 468430 h 2794344"/>
              <a:gd name="connsiteX3" fmla="*/ 2220390 w 2220390"/>
              <a:gd name="connsiteY3" fmla="*/ 806042 h 2794344"/>
              <a:gd name="connsiteX4" fmla="*/ 2220292 w 2220390"/>
              <a:gd name="connsiteY4" fmla="*/ 938113 h 2794344"/>
              <a:gd name="connsiteX5" fmla="*/ 2210217 w 2220390"/>
              <a:gd name="connsiteY5" fmla="*/ 991049 h 2794344"/>
              <a:gd name="connsiteX6" fmla="*/ 2022930 w 2220390"/>
              <a:gd name="connsiteY6" fmla="*/ 1125464 h 2794344"/>
              <a:gd name="connsiteX7" fmla="*/ 1900686 w 2220390"/>
              <a:gd name="connsiteY7" fmla="*/ 1083247 h 2794344"/>
              <a:gd name="connsiteX8" fmla="*/ 1876860 w 2220390"/>
              <a:gd name="connsiteY8" fmla="*/ 1061451 h 2794344"/>
              <a:gd name="connsiteX9" fmla="*/ 1821897 w 2220390"/>
              <a:gd name="connsiteY9" fmla="*/ 1031394 h 2794344"/>
              <a:gd name="connsiteX10" fmla="*/ 1753668 w 2220390"/>
              <a:gd name="connsiteY10" fmla="*/ 1019349 h 2794344"/>
              <a:gd name="connsiteX11" fmla="*/ 1559134 w 2220390"/>
              <a:gd name="connsiteY11" fmla="*/ 1278040 h 2794344"/>
              <a:gd name="connsiteX12" fmla="*/ 1675827 w 2220390"/>
              <a:gd name="connsiteY12" fmla="*/ 1408132 h 2794344"/>
              <a:gd name="connsiteX13" fmla="*/ 1821897 w 2220390"/>
              <a:gd name="connsiteY13" fmla="*/ 1411459 h 2794344"/>
              <a:gd name="connsiteX14" fmla="*/ 1877807 w 2220390"/>
              <a:gd name="connsiteY14" fmla="*/ 1380829 h 2794344"/>
              <a:gd name="connsiteX15" fmla="*/ 1900144 w 2220390"/>
              <a:gd name="connsiteY15" fmla="*/ 1360638 h 2794344"/>
              <a:gd name="connsiteX16" fmla="*/ 2022659 w 2220390"/>
              <a:gd name="connsiteY16" fmla="*/ 1317733 h 2794344"/>
              <a:gd name="connsiteX17" fmla="*/ 2210480 w 2220390"/>
              <a:gd name="connsiteY17" fmla="*/ 1452971 h 2794344"/>
              <a:gd name="connsiteX18" fmla="*/ 2219875 w 2220390"/>
              <a:gd name="connsiteY18" fmla="*/ 1500579 h 2794344"/>
              <a:gd name="connsiteX19" fmla="*/ 2219773 w 2220390"/>
              <a:gd name="connsiteY19" fmla="*/ 1637600 h 2794344"/>
              <a:gd name="connsiteX20" fmla="*/ 2024564 w 2220390"/>
              <a:gd name="connsiteY20" fmla="*/ 1975212 h 2794344"/>
              <a:gd name="connsiteX21" fmla="*/ 1304171 w 2220390"/>
              <a:gd name="connsiteY21" fmla="*/ 2390664 h 2794344"/>
              <a:gd name="connsiteX22" fmla="*/ 914369 w 2220390"/>
              <a:gd name="connsiteY22" fmla="*/ 2390403 h 2794344"/>
              <a:gd name="connsiteX23" fmla="*/ 825040 w 2220390"/>
              <a:gd name="connsiteY23" fmla="*/ 2338814 h 2794344"/>
              <a:gd name="connsiteX24" fmla="*/ 590511 w 2220390"/>
              <a:gd name="connsiteY24" fmla="*/ 2347006 h 2794344"/>
              <a:gd name="connsiteX25" fmla="*/ 565573 w 2220390"/>
              <a:gd name="connsiteY25" fmla="*/ 2368589 h 2794344"/>
              <a:gd name="connsiteX26" fmla="*/ 544151 w 2220390"/>
              <a:gd name="connsiteY26" fmla="*/ 2397822 h 2794344"/>
              <a:gd name="connsiteX27" fmla="*/ 519962 w 2220390"/>
              <a:gd name="connsiteY27" fmla="*/ 2525347 h 2794344"/>
              <a:gd name="connsiteX28" fmla="*/ 526156 w 2220390"/>
              <a:gd name="connsiteY28" fmla="*/ 2554843 h 2794344"/>
              <a:gd name="connsiteX29" fmla="*/ 524910 w 2220390"/>
              <a:gd name="connsiteY29" fmla="*/ 2618443 h 2794344"/>
              <a:gd name="connsiteX30" fmla="*/ 478505 w 2220390"/>
              <a:gd name="connsiteY30" fmla="*/ 2715458 h 2794344"/>
              <a:gd name="connsiteX31" fmla="*/ 471922 w 2220390"/>
              <a:gd name="connsiteY31" fmla="*/ 2721628 h 2794344"/>
              <a:gd name="connsiteX32" fmla="*/ 469883 w 2220390"/>
              <a:gd name="connsiteY32" fmla="*/ 2724442 h 2794344"/>
              <a:gd name="connsiteX33" fmla="*/ 440275 w 2220390"/>
              <a:gd name="connsiteY33" fmla="*/ 2752177 h 2794344"/>
              <a:gd name="connsiteX34" fmla="*/ 269325 w 2220390"/>
              <a:gd name="connsiteY34" fmla="*/ 2788093 h 2794344"/>
              <a:gd name="connsiteX35" fmla="*/ 142681 w 2220390"/>
              <a:gd name="connsiteY35" fmla="*/ 2490315 h 2794344"/>
              <a:gd name="connsiteX36" fmla="*/ 187397 w 2220390"/>
              <a:gd name="connsiteY36" fmla="*/ 2437159 h 2794344"/>
              <a:gd name="connsiteX37" fmla="*/ 189709 w 2220390"/>
              <a:gd name="connsiteY37" fmla="*/ 2435750 h 2794344"/>
              <a:gd name="connsiteX38" fmla="*/ 196022 w 2220390"/>
              <a:gd name="connsiteY38" fmla="*/ 2428254 h 2794344"/>
              <a:gd name="connsiteX39" fmla="*/ 249383 w 2220390"/>
              <a:gd name="connsiteY39" fmla="*/ 2395662 h 2794344"/>
              <a:gd name="connsiteX40" fmla="*/ 280113 w 2220390"/>
              <a:gd name="connsiteY40" fmla="*/ 2385722 h 2794344"/>
              <a:gd name="connsiteX41" fmla="*/ 333469 w 2220390"/>
              <a:gd name="connsiteY41" fmla="*/ 2353240 h 2794344"/>
              <a:gd name="connsiteX42" fmla="*/ 369551 w 2220390"/>
              <a:gd name="connsiteY42" fmla="*/ 2309951 h 2794344"/>
              <a:gd name="connsiteX43" fmla="*/ 283922 w 2220390"/>
              <a:gd name="connsiteY43" fmla="*/ 2025756 h 2794344"/>
              <a:gd name="connsiteX44" fmla="*/ 194593 w 2220390"/>
              <a:gd name="connsiteY44" fmla="*/ 1974298 h 2794344"/>
              <a:gd name="connsiteX45" fmla="*/ 0 w 2220390"/>
              <a:gd name="connsiteY45" fmla="*/ 1636686 h 2794344"/>
              <a:gd name="connsiteX46" fmla="*/ 617 w 2220390"/>
              <a:gd name="connsiteY46" fmla="*/ 805128 h 2794344"/>
              <a:gd name="connsiteX47" fmla="*/ 195826 w 2220390"/>
              <a:gd name="connsiteY47" fmla="*/ 467516 h 2794344"/>
              <a:gd name="connsiteX48" fmla="*/ 916219 w 2220390"/>
              <a:gd name="connsiteY48" fmla="*/ 52063 h 2794344"/>
              <a:gd name="connsiteX49" fmla="*/ 1111236 w 2220390"/>
              <a:gd name="connsiteY49" fmla="*/ 1 h 279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2220390" h="2794344">
                <a:moveTo>
                  <a:pt x="1111236" y="1"/>
                </a:moveTo>
                <a:cubicBezTo>
                  <a:pt x="1178529" y="50"/>
                  <a:pt x="1245783" y="17518"/>
                  <a:pt x="1306021" y="52455"/>
                </a:cubicBezTo>
                <a:lnTo>
                  <a:pt x="2025798" y="468430"/>
                </a:lnTo>
                <a:cubicBezTo>
                  <a:pt x="2146274" y="538042"/>
                  <a:pt x="2220390" y="666687"/>
                  <a:pt x="2220390" y="806042"/>
                </a:cubicBezTo>
                <a:lnTo>
                  <a:pt x="2220292" y="938113"/>
                </a:lnTo>
                <a:lnTo>
                  <a:pt x="2210217" y="991049"/>
                </a:lnTo>
                <a:cubicBezTo>
                  <a:pt x="2179923" y="1068118"/>
                  <a:pt x="2108622" y="1125636"/>
                  <a:pt x="2022930" y="1125464"/>
                </a:cubicBezTo>
                <a:cubicBezTo>
                  <a:pt x="1976767" y="1125120"/>
                  <a:pt x="1934530" y="1109288"/>
                  <a:pt x="1900686" y="1083247"/>
                </a:cubicBezTo>
                <a:cubicBezTo>
                  <a:pt x="1893240" y="1075446"/>
                  <a:pt x="1885253" y="1067990"/>
                  <a:pt x="1876860" y="1061451"/>
                </a:cubicBezTo>
                <a:cubicBezTo>
                  <a:pt x="1860344" y="1048717"/>
                  <a:pt x="1841797" y="1038507"/>
                  <a:pt x="1821897" y="1031394"/>
                </a:cubicBezTo>
                <a:cubicBezTo>
                  <a:pt x="1800508" y="1023593"/>
                  <a:pt x="1777494" y="1019349"/>
                  <a:pt x="1753668" y="1019349"/>
                </a:cubicBezTo>
                <a:cubicBezTo>
                  <a:pt x="1623572" y="1019349"/>
                  <a:pt x="1522176" y="1142213"/>
                  <a:pt x="1559134" y="1278040"/>
                </a:cubicBezTo>
                <a:cubicBezTo>
                  <a:pt x="1574973" y="1336662"/>
                  <a:pt x="1619646" y="1385418"/>
                  <a:pt x="1675827" y="1408132"/>
                </a:cubicBezTo>
                <a:cubicBezTo>
                  <a:pt x="1728217" y="1429126"/>
                  <a:pt x="1778442" y="1427061"/>
                  <a:pt x="1821897" y="1411459"/>
                </a:cubicBezTo>
                <a:cubicBezTo>
                  <a:pt x="1842068" y="1404002"/>
                  <a:pt x="1861021" y="1393792"/>
                  <a:pt x="1877807" y="1380829"/>
                </a:cubicBezTo>
                <a:cubicBezTo>
                  <a:pt x="1885524" y="1374519"/>
                  <a:pt x="1892969" y="1367751"/>
                  <a:pt x="1900144" y="1360638"/>
                </a:cubicBezTo>
                <a:cubicBezTo>
                  <a:pt x="1933988" y="1334253"/>
                  <a:pt x="1976496" y="1318077"/>
                  <a:pt x="2022659" y="1317733"/>
                </a:cubicBezTo>
                <a:cubicBezTo>
                  <a:pt x="2106930" y="1317045"/>
                  <a:pt x="2179474" y="1376046"/>
                  <a:pt x="2210480" y="1452971"/>
                </a:cubicBezTo>
                <a:lnTo>
                  <a:pt x="2219875" y="1500579"/>
                </a:lnTo>
                <a:lnTo>
                  <a:pt x="2219773" y="1637600"/>
                </a:lnTo>
                <a:cubicBezTo>
                  <a:pt x="2219465" y="1776955"/>
                  <a:pt x="2145349" y="1905730"/>
                  <a:pt x="2024564" y="1975212"/>
                </a:cubicBezTo>
                <a:lnTo>
                  <a:pt x="1304171" y="2390664"/>
                </a:lnTo>
                <a:cubicBezTo>
                  <a:pt x="1183386" y="2460146"/>
                  <a:pt x="1035154" y="2460146"/>
                  <a:pt x="914369" y="2390403"/>
                </a:cubicBezTo>
                <a:lnTo>
                  <a:pt x="825040" y="2338814"/>
                </a:lnTo>
                <a:cubicBezTo>
                  <a:pt x="751952" y="2296694"/>
                  <a:pt x="656891" y="2301004"/>
                  <a:pt x="590511" y="2347006"/>
                </a:cubicBezTo>
                <a:lnTo>
                  <a:pt x="565573" y="2368589"/>
                </a:lnTo>
                <a:lnTo>
                  <a:pt x="544151" y="2397822"/>
                </a:lnTo>
                <a:cubicBezTo>
                  <a:pt x="521519" y="2437870"/>
                  <a:pt x="514079" y="2482851"/>
                  <a:pt x="519962" y="2525347"/>
                </a:cubicBezTo>
                <a:cubicBezTo>
                  <a:pt x="522765" y="2534999"/>
                  <a:pt x="524910" y="2544903"/>
                  <a:pt x="526156" y="2554843"/>
                </a:cubicBezTo>
                <a:cubicBezTo>
                  <a:pt x="529270" y="2575623"/>
                  <a:pt x="528648" y="2597339"/>
                  <a:pt x="524910" y="2618443"/>
                </a:cubicBezTo>
                <a:cubicBezTo>
                  <a:pt x="518863" y="2652665"/>
                  <a:pt x="504270" y="2686178"/>
                  <a:pt x="478505" y="2715458"/>
                </a:cubicBezTo>
                <a:lnTo>
                  <a:pt x="471922" y="2721628"/>
                </a:lnTo>
                <a:lnTo>
                  <a:pt x="469883" y="2724442"/>
                </a:lnTo>
                <a:cubicBezTo>
                  <a:pt x="461290" y="2734202"/>
                  <a:pt x="451454" y="2743492"/>
                  <a:pt x="440275" y="2752177"/>
                </a:cubicBezTo>
                <a:cubicBezTo>
                  <a:pt x="392475" y="2789660"/>
                  <a:pt x="328022" y="2803635"/>
                  <a:pt x="269325" y="2788093"/>
                </a:cubicBezTo>
                <a:cubicBezTo>
                  <a:pt x="133121" y="2752177"/>
                  <a:pt x="77611" y="2602896"/>
                  <a:pt x="142681" y="2490315"/>
                </a:cubicBezTo>
                <a:cubicBezTo>
                  <a:pt x="154811" y="2469419"/>
                  <a:pt x="170024" y="2451787"/>
                  <a:pt x="187397" y="2437159"/>
                </a:cubicBezTo>
                <a:lnTo>
                  <a:pt x="189709" y="2435750"/>
                </a:lnTo>
                <a:lnTo>
                  <a:pt x="196022" y="2428254"/>
                </a:lnTo>
                <a:cubicBezTo>
                  <a:pt x="212148" y="2414605"/>
                  <a:pt x="230143" y="2403405"/>
                  <a:pt x="249383" y="2395662"/>
                </a:cubicBezTo>
                <a:cubicBezTo>
                  <a:pt x="259315" y="2391628"/>
                  <a:pt x="269558" y="2388207"/>
                  <a:pt x="280113" y="2385722"/>
                </a:cubicBezTo>
                <a:lnTo>
                  <a:pt x="333469" y="2353240"/>
                </a:lnTo>
                <a:lnTo>
                  <a:pt x="369551" y="2309951"/>
                </a:lnTo>
                <a:cubicBezTo>
                  <a:pt x="427220" y="2210953"/>
                  <a:pt x="382915" y="2083222"/>
                  <a:pt x="283922" y="2025756"/>
                </a:cubicBezTo>
                <a:lnTo>
                  <a:pt x="194593" y="1974298"/>
                </a:lnTo>
                <a:cubicBezTo>
                  <a:pt x="74116" y="1904816"/>
                  <a:pt x="0" y="1776040"/>
                  <a:pt x="0" y="1636686"/>
                </a:cubicBezTo>
                <a:lnTo>
                  <a:pt x="617" y="805128"/>
                </a:lnTo>
                <a:cubicBezTo>
                  <a:pt x="925" y="665773"/>
                  <a:pt x="75041" y="536997"/>
                  <a:pt x="195826" y="467516"/>
                </a:cubicBezTo>
                <a:lnTo>
                  <a:pt x="916219" y="52063"/>
                </a:lnTo>
                <a:cubicBezTo>
                  <a:pt x="976612" y="17322"/>
                  <a:pt x="1043943" y="-48"/>
                  <a:pt x="1111236" y="1"/>
                </a:cubicBezTo>
                <a:close/>
              </a:path>
            </a:pathLst>
          </a:custGeom>
          <a:solidFill>
            <a:srgbClr val="323A45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sz="8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41C4B16-E578-4711-A213-7AEA662CAEE8}"/>
              </a:ext>
            </a:extLst>
          </p:cNvPr>
          <p:cNvSpPr/>
          <p:nvPr/>
        </p:nvSpPr>
        <p:spPr>
          <a:xfrm>
            <a:off x="4260085" y="2164080"/>
            <a:ext cx="1324506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/>
            <a:r>
              <a:rPr lang="en-US" sz="2000" b="1" dirty="0">
                <a:solidFill>
                  <a:prstClr val="white"/>
                </a:solidFill>
              </a:rPr>
              <a:t>Resume</a:t>
            </a: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37AB607-2A8C-43EB-98A5-A6B2BDEEFC75}"/>
              </a:ext>
            </a:extLst>
          </p:cNvPr>
          <p:cNvSpPr txBox="1"/>
          <p:nvPr/>
        </p:nvSpPr>
        <p:spPr>
          <a:xfrm>
            <a:off x="1774471" y="1289233"/>
            <a:ext cx="2473580" cy="1511118"/>
          </a:xfrm>
          <a:prstGeom prst="rect">
            <a:avLst/>
          </a:prstGeom>
          <a:solidFill>
            <a:srgbClr val="323A45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8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noProof="1"/>
              <a:t>Short &amp; crispt (1 page preferably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noProof="1"/>
              <a:t>Usage of keyword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noProof="1"/>
              <a:t>Highlight technical skills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noProof="1"/>
              <a:t>Inumerate projects in a structured manner – What, How and Why?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100" noProof="1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0E94B3B-7E58-400F-87CA-4F5EC18C1C83}"/>
              </a:ext>
            </a:extLst>
          </p:cNvPr>
          <p:cNvSpPr txBox="1"/>
          <p:nvPr/>
        </p:nvSpPr>
        <p:spPr>
          <a:xfrm>
            <a:off x="8044967" y="1289232"/>
            <a:ext cx="2372562" cy="1511118"/>
          </a:xfrm>
          <a:prstGeom prst="rect">
            <a:avLst/>
          </a:prstGeom>
          <a:solidFill>
            <a:srgbClr val="F3774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800">
                <a:solidFill>
                  <a:prstClr val="white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noProof="1"/>
              <a:t>Meaningful and interesting elevator pitch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noProof="1"/>
              <a:t>Projects mention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noProof="1"/>
              <a:t>Highlight courses and certification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noProof="1"/>
              <a:t>Aligned with resum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noProof="1"/>
              <a:t>Share content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100" noProof="1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9841D7-7FA6-4C03-AA2C-8CBFA8BEB1C0}"/>
              </a:ext>
            </a:extLst>
          </p:cNvPr>
          <p:cNvSpPr txBox="1"/>
          <p:nvPr/>
        </p:nvSpPr>
        <p:spPr>
          <a:xfrm>
            <a:off x="9046849" y="3339098"/>
            <a:ext cx="2372562" cy="1511118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1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noProof="1"/>
              <a:t>Participation in Grand Master categori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noProof="1"/>
              <a:t>Practice projects based on skills/interests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noProof="1"/>
              <a:t>Participation in competition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noProof="1"/>
              <a:t>Link your achievements and participations with Linked-in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noProof="1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15B84EC-418E-472E-BE0B-4D807DE864D6}"/>
              </a:ext>
            </a:extLst>
          </p:cNvPr>
          <p:cNvSpPr txBox="1"/>
          <p:nvPr/>
        </p:nvSpPr>
        <p:spPr>
          <a:xfrm>
            <a:off x="4937253" y="4946624"/>
            <a:ext cx="2372562" cy="151111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1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noProof="1"/>
              <a:t>Store you code and content in  sharable repositori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noProof="1"/>
              <a:t>Create structured repositori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noProof="1"/>
              <a:t>Share your work links in resume and Linked-in profil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8A94E4C-3518-4628-89C9-99FBF7997009}"/>
              </a:ext>
            </a:extLst>
          </p:cNvPr>
          <p:cNvSpPr txBox="1"/>
          <p:nvPr/>
        </p:nvSpPr>
        <p:spPr>
          <a:xfrm>
            <a:off x="942163" y="3340804"/>
            <a:ext cx="2372562" cy="1511118"/>
          </a:xfrm>
          <a:prstGeom prst="rect">
            <a:avLst/>
          </a:prstGeom>
          <a:solidFill>
            <a:srgbClr val="28B9D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1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noProof="1"/>
              <a:t>Try to invest time in writing blogs, articles, white-papers, videos etc.</a:t>
            </a:r>
          </a:p>
        </p:txBody>
      </p:sp>
    </p:spTree>
    <p:extLst>
      <p:ext uri="{BB962C8B-B14F-4D97-AF65-F5344CB8AC3E}">
        <p14:creationId xmlns:p14="http://schemas.microsoft.com/office/powerpoint/2010/main" val="34383229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B3BF58-9D50-42DA-AB47-F79891CF17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04165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B3BF58-9D50-42DA-AB47-F79891CF1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3" name="Google Shape;283;p14"/>
          <p:cNvSpPr txBox="1">
            <a:spLocks noGrp="1"/>
          </p:cNvSpPr>
          <p:nvPr>
            <p:ph type="ctrTitle"/>
          </p:nvPr>
        </p:nvSpPr>
        <p:spPr>
          <a:xfrm>
            <a:off x="218800" y="-8943"/>
            <a:ext cx="11797600" cy="9272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r>
              <a:rPr lang="en-US" sz="4133" dirty="0"/>
              <a:t>Where we can learn from</a:t>
            </a:r>
            <a:endParaRPr sz="4133" dirty="0"/>
          </a:p>
        </p:txBody>
      </p:sp>
      <p:sp>
        <p:nvSpPr>
          <p:cNvPr id="8" name="Google Shape;284;p14">
            <a:extLst>
              <a:ext uri="{FF2B5EF4-FFF2-40B4-BE49-F238E27FC236}">
                <a16:creationId xmlns:a16="http://schemas.microsoft.com/office/drawing/2014/main" id="{5BC828C7-A50B-4B88-BA9A-D6E8DF31448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8184" y="677237"/>
            <a:ext cx="11655631" cy="573589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pPr marL="0" indent="0"/>
            <a:r>
              <a:rPr lang="en-US" sz="2000" dirty="0"/>
              <a:t>Additional areas to learn from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A48D6D9-C7ED-49EA-B844-1B094247E5B8}"/>
              </a:ext>
            </a:extLst>
          </p:cNvPr>
          <p:cNvGrpSpPr/>
          <p:nvPr/>
        </p:nvGrpSpPr>
        <p:grpSpPr>
          <a:xfrm>
            <a:off x="218800" y="1323433"/>
            <a:ext cx="4420074" cy="1320120"/>
            <a:chOff x="5692588" y="1560606"/>
            <a:chExt cx="3195918" cy="936812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789D0367-C473-4688-9AB6-7E0FFE9F1A60}"/>
                </a:ext>
              </a:extLst>
            </p:cNvPr>
            <p:cNvSpPr/>
            <p:nvPr/>
          </p:nvSpPr>
          <p:spPr>
            <a:xfrm>
              <a:off x="5800164" y="1625600"/>
              <a:ext cx="3088342" cy="806824"/>
            </a:xfrm>
            <a:prstGeom prst="roundRect">
              <a:avLst>
                <a:gd name="adj" fmla="val 50000"/>
              </a:avLst>
            </a:prstGeom>
            <a:noFill/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45488D7C-54B7-4C4E-98E3-5467F2F0F1BD}"/>
                </a:ext>
              </a:extLst>
            </p:cNvPr>
            <p:cNvSpPr/>
            <p:nvPr/>
          </p:nvSpPr>
          <p:spPr>
            <a:xfrm>
              <a:off x="6279776" y="1780241"/>
              <a:ext cx="2420879" cy="497542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err="1"/>
                <a:t>Arxiv</a:t>
              </a:r>
              <a:r>
                <a:rPr lang="en-US" sz="1600" dirty="0"/>
                <a:t>, Stanford, Specific Publications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178F6C09-814A-4958-A450-6CC5BB36CF3A}"/>
                </a:ext>
              </a:extLst>
            </p:cNvPr>
            <p:cNvSpPr/>
            <p:nvPr/>
          </p:nvSpPr>
          <p:spPr>
            <a:xfrm>
              <a:off x="5692588" y="1560606"/>
              <a:ext cx="936812" cy="936812"/>
            </a:xfrm>
            <a:prstGeom prst="ellipse">
              <a:avLst/>
            </a:prstGeom>
            <a:solidFill>
              <a:srgbClr val="F1EF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0F56972E-0BBA-44F2-886A-B599C228E216}"/>
                </a:ext>
              </a:extLst>
            </p:cNvPr>
            <p:cNvSpPr/>
            <p:nvPr/>
          </p:nvSpPr>
          <p:spPr>
            <a:xfrm>
              <a:off x="5692588" y="1625600"/>
              <a:ext cx="806824" cy="80682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Papers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16E43D2-F1C7-4CFD-BD1B-0E7E6DE44EF0}"/>
              </a:ext>
            </a:extLst>
          </p:cNvPr>
          <p:cNvGrpSpPr/>
          <p:nvPr/>
        </p:nvGrpSpPr>
        <p:grpSpPr>
          <a:xfrm>
            <a:off x="1249666" y="3108670"/>
            <a:ext cx="4416383" cy="1320119"/>
            <a:chOff x="5692588" y="1560606"/>
            <a:chExt cx="3193249" cy="936812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60FD335A-016E-47B4-BBC8-5DD3C4C66680}"/>
                </a:ext>
              </a:extLst>
            </p:cNvPr>
            <p:cNvSpPr/>
            <p:nvPr/>
          </p:nvSpPr>
          <p:spPr>
            <a:xfrm>
              <a:off x="5797495" y="1625600"/>
              <a:ext cx="3088342" cy="806824"/>
            </a:xfrm>
            <a:prstGeom prst="roundRect">
              <a:avLst>
                <a:gd name="adj" fmla="val 50000"/>
              </a:avLst>
            </a:prstGeom>
            <a:noFill/>
            <a:ln w="571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32342547-FE92-4F28-B22C-5DB9C99E2E70}"/>
                </a:ext>
              </a:extLst>
            </p:cNvPr>
            <p:cNvSpPr/>
            <p:nvPr/>
          </p:nvSpPr>
          <p:spPr>
            <a:xfrm>
              <a:off x="6279776" y="1780241"/>
              <a:ext cx="2420879" cy="497542"/>
            </a:xfrm>
            <a:prstGeom prst="roundRect">
              <a:avLst>
                <a:gd name="adj" fmla="val 50000"/>
              </a:avLst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Medium, Kaggle, GL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01062390-7A63-403A-8031-79CBDD26EF94}"/>
                </a:ext>
              </a:extLst>
            </p:cNvPr>
            <p:cNvSpPr/>
            <p:nvPr/>
          </p:nvSpPr>
          <p:spPr>
            <a:xfrm>
              <a:off x="5692588" y="1560606"/>
              <a:ext cx="936812" cy="936812"/>
            </a:xfrm>
            <a:prstGeom prst="ellipse">
              <a:avLst/>
            </a:prstGeom>
            <a:solidFill>
              <a:srgbClr val="F1EF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91D733B4-6D86-4078-81B5-D3F45C51E5DE}"/>
                </a:ext>
              </a:extLst>
            </p:cNvPr>
            <p:cNvSpPr/>
            <p:nvPr/>
          </p:nvSpPr>
          <p:spPr>
            <a:xfrm>
              <a:off x="5692588" y="1625600"/>
              <a:ext cx="806824" cy="806824"/>
            </a:xfrm>
            <a:prstGeom prst="ellipse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Blogs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9C7A118-3E9C-447F-BAF1-7576B50575B6}"/>
              </a:ext>
            </a:extLst>
          </p:cNvPr>
          <p:cNvGrpSpPr/>
          <p:nvPr/>
        </p:nvGrpSpPr>
        <p:grpSpPr>
          <a:xfrm>
            <a:off x="2276841" y="4893906"/>
            <a:ext cx="4420074" cy="1320119"/>
            <a:chOff x="5692588" y="1560606"/>
            <a:chExt cx="3195918" cy="936812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445F3E28-FED5-4726-870A-72B42B3D73F3}"/>
                </a:ext>
              </a:extLst>
            </p:cNvPr>
            <p:cNvSpPr/>
            <p:nvPr/>
          </p:nvSpPr>
          <p:spPr>
            <a:xfrm>
              <a:off x="5800164" y="1625600"/>
              <a:ext cx="3088342" cy="806824"/>
            </a:xfrm>
            <a:prstGeom prst="roundRect">
              <a:avLst>
                <a:gd name="adj" fmla="val 50000"/>
              </a:avLst>
            </a:prstGeom>
            <a:noFill/>
            <a:ln w="57150">
              <a:solidFill>
                <a:srgbClr val="FF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E6B0059B-F9E2-465F-BDFF-9456A2B4FB4F}"/>
                </a:ext>
              </a:extLst>
            </p:cNvPr>
            <p:cNvSpPr/>
            <p:nvPr/>
          </p:nvSpPr>
          <p:spPr>
            <a:xfrm>
              <a:off x="6279776" y="1780241"/>
              <a:ext cx="2420879" cy="497542"/>
            </a:xfrm>
            <a:prstGeom prst="roundRect">
              <a:avLst>
                <a:gd name="adj" fmla="val 50000"/>
              </a:avLst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Great Learning Academy</a:t>
              </a: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3CF4BBAB-3B9F-49A6-B985-C8F2348632CB}"/>
                </a:ext>
              </a:extLst>
            </p:cNvPr>
            <p:cNvSpPr/>
            <p:nvPr/>
          </p:nvSpPr>
          <p:spPr>
            <a:xfrm>
              <a:off x="5692588" y="1560606"/>
              <a:ext cx="936812" cy="936812"/>
            </a:xfrm>
            <a:prstGeom prst="ellipse">
              <a:avLst/>
            </a:prstGeom>
            <a:solidFill>
              <a:srgbClr val="F1EF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AF1D94C3-C7DD-4551-A438-20C1EF409D2B}"/>
                </a:ext>
              </a:extLst>
            </p:cNvPr>
            <p:cNvSpPr/>
            <p:nvPr/>
          </p:nvSpPr>
          <p:spPr>
            <a:xfrm>
              <a:off x="5692588" y="1625600"/>
              <a:ext cx="806824" cy="806824"/>
            </a:xfrm>
            <a:prstGeom prst="ellipse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Videos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306FAA9-28B8-460C-923D-06349AA397BF}"/>
              </a:ext>
            </a:extLst>
          </p:cNvPr>
          <p:cNvGrpSpPr/>
          <p:nvPr/>
        </p:nvGrpSpPr>
        <p:grpSpPr>
          <a:xfrm>
            <a:off x="5042390" y="1317845"/>
            <a:ext cx="4477676" cy="1320120"/>
            <a:chOff x="5692588" y="1560606"/>
            <a:chExt cx="3195918" cy="936812"/>
          </a:xfrm>
        </p:grpSpPr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3CAC9679-76F7-49A3-BE60-E36C7A8E4892}"/>
                </a:ext>
              </a:extLst>
            </p:cNvPr>
            <p:cNvSpPr/>
            <p:nvPr/>
          </p:nvSpPr>
          <p:spPr>
            <a:xfrm>
              <a:off x="5800164" y="1625600"/>
              <a:ext cx="3088342" cy="806824"/>
            </a:xfrm>
            <a:prstGeom prst="roundRect">
              <a:avLst>
                <a:gd name="adj" fmla="val 50000"/>
              </a:avLst>
            </a:prstGeom>
            <a:noFill/>
            <a:ln w="571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F67EA34B-1481-4055-B53E-3A15CAD6B705}"/>
                </a:ext>
              </a:extLst>
            </p:cNvPr>
            <p:cNvSpPr/>
            <p:nvPr/>
          </p:nvSpPr>
          <p:spPr>
            <a:xfrm>
              <a:off x="6279776" y="1780241"/>
              <a:ext cx="2420879" cy="497542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DSBA, AIML, DSE etc..</a:t>
              </a: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E7231597-E2C1-44F1-ABC0-CB49E579E014}"/>
                </a:ext>
              </a:extLst>
            </p:cNvPr>
            <p:cNvSpPr/>
            <p:nvPr/>
          </p:nvSpPr>
          <p:spPr>
            <a:xfrm>
              <a:off x="5692588" y="1560606"/>
              <a:ext cx="936812" cy="936812"/>
            </a:xfrm>
            <a:prstGeom prst="ellipse">
              <a:avLst/>
            </a:prstGeom>
            <a:solidFill>
              <a:srgbClr val="F1EF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445BEF42-1423-41FB-BA86-A7822E21B30C}"/>
                </a:ext>
              </a:extLst>
            </p:cNvPr>
            <p:cNvSpPr/>
            <p:nvPr/>
          </p:nvSpPr>
          <p:spPr>
            <a:xfrm>
              <a:off x="5699044" y="1625600"/>
              <a:ext cx="882769" cy="806824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Courses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B56DC0A-03C3-46EA-9D68-4C1FA687511A}"/>
              </a:ext>
            </a:extLst>
          </p:cNvPr>
          <p:cNvGrpSpPr/>
          <p:nvPr/>
        </p:nvGrpSpPr>
        <p:grpSpPr>
          <a:xfrm>
            <a:off x="6053073" y="3062876"/>
            <a:ext cx="4420074" cy="1320120"/>
            <a:chOff x="5692588" y="1560606"/>
            <a:chExt cx="3195918" cy="936812"/>
          </a:xfrm>
        </p:grpSpPr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5A66883C-632E-474B-8B72-2D22029A7C62}"/>
                </a:ext>
              </a:extLst>
            </p:cNvPr>
            <p:cNvSpPr/>
            <p:nvPr/>
          </p:nvSpPr>
          <p:spPr>
            <a:xfrm>
              <a:off x="5800164" y="1625600"/>
              <a:ext cx="3088342" cy="806824"/>
            </a:xfrm>
            <a:prstGeom prst="roundRect">
              <a:avLst>
                <a:gd name="adj" fmla="val 50000"/>
              </a:avLst>
            </a:prstGeom>
            <a:noFill/>
            <a:ln w="571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B6D3E12A-A42B-4AA4-A892-49A5536B3D39}"/>
                </a:ext>
              </a:extLst>
            </p:cNvPr>
            <p:cNvSpPr/>
            <p:nvPr/>
          </p:nvSpPr>
          <p:spPr>
            <a:xfrm>
              <a:off x="6279776" y="1780241"/>
              <a:ext cx="2420879" cy="497542"/>
            </a:xfrm>
            <a:prstGeom prst="roundRect">
              <a:avLst>
                <a:gd name="adj" fmla="val 50000"/>
              </a:avLst>
            </a:prstGeom>
            <a:solidFill>
              <a:srgbClr val="92D050"/>
            </a:solidFill>
            <a:ln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Networking/Seminars/</a:t>
              </a:r>
            </a:p>
            <a:p>
              <a:pPr algn="ctr"/>
              <a:r>
                <a:rPr lang="en-US" sz="1600" dirty="0"/>
                <a:t>Sessions/Conferences</a:t>
              </a: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AF865FBD-8807-4559-B3C5-1B104C103994}"/>
                </a:ext>
              </a:extLst>
            </p:cNvPr>
            <p:cNvSpPr/>
            <p:nvPr/>
          </p:nvSpPr>
          <p:spPr>
            <a:xfrm>
              <a:off x="5692588" y="1560606"/>
              <a:ext cx="936812" cy="936812"/>
            </a:xfrm>
            <a:prstGeom prst="ellipse">
              <a:avLst/>
            </a:prstGeom>
            <a:solidFill>
              <a:srgbClr val="F1EFF0"/>
            </a:solidFill>
            <a:ln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116C3AE4-A5E8-4A9E-A1B7-E838EE667F8F}"/>
                </a:ext>
              </a:extLst>
            </p:cNvPr>
            <p:cNvSpPr/>
            <p:nvPr/>
          </p:nvSpPr>
          <p:spPr>
            <a:xfrm>
              <a:off x="5692588" y="1625600"/>
              <a:ext cx="806824" cy="80682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Awareness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21BF34A2-CB65-4721-84AF-C9EDB1427B1D}"/>
              </a:ext>
            </a:extLst>
          </p:cNvPr>
          <p:cNvGrpSpPr/>
          <p:nvPr/>
        </p:nvGrpSpPr>
        <p:grpSpPr>
          <a:xfrm>
            <a:off x="7083941" y="4716320"/>
            <a:ext cx="4420074" cy="1320120"/>
            <a:chOff x="5692588" y="1560606"/>
            <a:chExt cx="3195918" cy="936812"/>
          </a:xfrm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6C2E0E74-0D22-43CF-BD16-55E610206BA8}"/>
                </a:ext>
              </a:extLst>
            </p:cNvPr>
            <p:cNvSpPr/>
            <p:nvPr/>
          </p:nvSpPr>
          <p:spPr>
            <a:xfrm>
              <a:off x="5800164" y="1625600"/>
              <a:ext cx="3088342" cy="806824"/>
            </a:xfrm>
            <a:prstGeom prst="roundRect">
              <a:avLst>
                <a:gd name="adj" fmla="val 50000"/>
              </a:avLst>
            </a:prstGeom>
            <a:noFill/>
            <a:ln w="5715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6EF77A1E-73CB-48F1-828D-35F04BD88B1E}"/>
                </a:ext>
              </a:extLst>
            </p:cNvPr>
            <p:cNvSpPr/>
            <p:nvPr/>
          </p:nvSpPr>
          <p:spPr>
            <a:xfrm>
              <a:off x="6279776" y="1780241"/>
              <a:ext cx="2420879" cy="497542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Data Science Groups/Community</a:t>
              </a: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A9D23EDE-2A76-4467-99EA-1DA70063543B}"/>
                </a:ext>
              </a:extLst>
            </p:cNvPr>
            <p:cNvSpPr/>
            <p:nvPr/>
          </p:nvSpPr>
          <p:spPr>
            <a:xfrm>
              <a:off x="5692588" y="1560606"/>
              <a:ext cx="936812" cy="936812"/>
            </a:xfrm>
            <a:prstGeom prst="ellipse">
              <a:avLst/>
            </a:prstGeom>
            <a:solidFill>
              <a:srgbClr val="F1EF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8F992A87-E9A6-4E40-8BF4-E3A9BD86B642}"/>
                </a:ext>
              </a:extLst>
            </p:cNvPr>
            <p:cNvSpPr/>
            <p:nvPr/>
          </p:nvSpPr>
          <p:spPr>
            <a:xfrm>
              <a:off x="5692588" y="1625600"/>
              <a:ext cx="806824" cy="806824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Addition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144447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B3BF58-9D50-42DA-AB47-F79891CF17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72838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B3BF58-9D50-42DA-AB47-F79891CF1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8" descr="Industry Insight: In-house Counsel">
            <a:extLst>
              <a:ext uri="{FF2B5EF4-FFF2-40B4-BE49-F238E27FC236}">
                <a16:creationId xmlns:a16="http://schemas.microsoft.com/office/drawing/2014/main" id="{FB686DBC-4D6B-48B5-9F57-4E03E6D165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5613" y="1490662"/>
            <a:ext cx="7360775" cy="3876675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27848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B3BF58-9D50-42DA-AB47-F79891CF17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48495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B3BF58-9D50-42DA-AB47-F79891CF1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3" name="Google Shape;283;p14"/>
          <p:cNvSpPr txBox="1">
            <a:spLocks noGrp="1"/>
          </p:cNvSpPr>
          <p:nvPr>
            <p:ph type="ctrTitle"/>
          </p:nvPr>
        </p:nvSpPr>
        <p:spPr>
          <a:xfrm>
            <a:off x="323712" y="2108150"/>
            <a:ext cx="10639563" cy="2540050"/>
          </a:xfrm>
          <a:prstGeom prst="rect">
            <a:avLst/>
          </a:prstGeom>
          <a:scene3d>
            <a:camera prst="perspectiveLeft"/>
            <a:lightRig rig="threePt" dir="t"/>
          </a:scene3d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algn="ctr"/>
            <a:r>
              <a:rPr lang="en-US" sz="10000" dirty="0"/>
              <a:t>THANK YOU</a:t>
            </a:r>
            <a:endParaRPr sz="10000" dirty="0"/>
          </a:p>
        </p:txBody>
      </p:sp>
    </p:spTree>
    <p:extLst>
      <p:ext uri="{BB962C8B-B14F-4D97-AF65-F5344CB8AC3E}">
        <p14:creationId xmlns:p14="http://schemas.microsoft.com/office/powerpoint/2010/main" val="27939722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82FCD9-9CF2-4596-B7F0-B7DA49EDB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401496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82FCD9-9CF2-4596-B7F0-B7DA49EDB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3" name="Google Shape;283;p14"/>
          <p:cNvSpPr txBox="1">
            <a:spLocks noGrp="1"/>
          </p:cNvSpPr>
          <p:nvPr>
            <p:ph type="ctrTitle"/>
          </p:nvPr>
        </p:nvSpPr>
        <p:spPr>
          <a:xfrm>
            <a:off x="218800" y="138934"/>
            <a:ext cx="11797600" cy="852959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 fontScale="90000"/>
          </a:bodyPr>
          <a:lstStyle/>
          <a:p>
            <a:r>
              <a:rPr lang="en" sz="4533" dirty="0"/>
              <a:t>Introduction</a:t>
            </a:r>
            <a:endParaRPr sz="4533" dirty="0"/>
          </a:p>
        </p:txBody>
      </p:sp>
      <p:cxnSp>
        <p:nvCxnSpPr>
          <p:cNvPr id="5" name="Google Shape;77;p16">
            <a:extLst>
              <a:ext uri="{FF2B5EF4-FFF2-40B4-BE49-F238E27FC236}">
                <a16:creationId xmlns:a16="http://schemas.microsoft.com/office/drawing/2014/main" id="{229DA866-72D7-4DCF-914A-8E3E64604BB9}"/>
              </a:ext>
            </a:extLst>
          </p:cNvPr>
          <p:cNvCxnSpPr>
            <a:cxnSpLocks/>
          </p:cNvCxnSpPr>
          <p:nvPr/>
        </p:nvCxnSpPr>
        <p:spPr>
          <a:xfrm>
            <a:off x="1336876" y="3172245"/>
            <a:ext cx="7312224" cy="8"/>
          </a:xfrm>
          <a:prstGeom prst="straightConnector1">
            <a:avLst/>
          </a:prstGeom>
          <a:noFill/>
          <a:ln w="19050" cap="flat" cmpd="sng">
            <a:solidFill>
              <a:srgbClr val="000099"/>
            </a:solidFill>
            <a:prstDash val="dot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grpSp>
        <p:nvGrpSpPr>
          <p:cNvPr id="6" name="Google Shape;78;p16">
            <a:extLst>
              <a:ext uri="{FF2B5EF4-FFF2-40B4-BE49-F238E27FC236}">
                <a16:creationId xmlns:a16="http://schemas.microsoft.com/office/drawing/2014/main" id="{50D9A1C0-AA01-48AB-9577-B21A06EB3ABF}"/>
              </a:ext>
            </a:extLst>
          </p:cNvPr>
          <p:cNvGrpSpPr/>
          <p:nvPr/>
        </p:nvGrpSpPr>
        <p:grpSpPr>
          <a:xfrm>
            <a:off x="1927213" y="1963400"/>
            <a:ext cx="219054" cy="1306800"/>
            <a:chOff x="648675" y="1657471"/>
            <a:chExt cx="196200" cy="1306800"/>
          </a:xfrm>
          <a:solidFill>
            <a:srgbClr val="000099"/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grpSpPr>
        <p:sp>
          <p:nvSpPr>
            <p:cNvPr id="7" name="Google Shape;79;p16">
              <a:extLst>
                <a:ext uri="{FF2B5EF4-FFF2-40B4-BE49-F238E27FC236}">
                  <a16:creationId xmlns:a16="http://schemas.microsoft.com/office/drawing/2014/main" id="{4069F79E-E888-44E7-880F-8D77CF12F569}"/>
                </a:ext>
              </a:extLst>
            </p:cNvPr>
            <p:cNvSpPr/>
            <p:nvPr/>
          </p:nvSpPr>
          <p:spPr>
            <a:xfrm>
              <a:off x="648675" y="2768371"/>
              <a:ext cx="196200" cy="195900"/>
            </a:xfrm>
            <a:prstGeom prst="ellipse">
              <a:avLst/>
            </a:prstGeom>
            <a:grpFill/>
            <a:ln>
              <a:solidFill>
                <a:schemeClr val="accent5">
                  <a:lumMod val="60000"/>
                  <a:lumOff val="4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8" name="Google Shape;80;p16">
              <a:extLst>
                <a:ext uri="{FF2B5EF4-FFF2-40B4-BE49-F238E27FC236}">
                  <a16:creationId xmlns:a16="http://schemas.microsoft.com/office/drawing/2014/main" id="{0B4FFB84-229F-4300-AE2F-9CF1C40045D7}"/>
                </a:ext>
              </a:extLst>
            </p:cNvPr>
            <p:cNvCxnSpPr>
              <a:stCxn id="7" idx="0"/>
            </p:cNvCxnSpPr>
            <p:nvPr/>
          </p:nvCxnSpPr>
          <p:spPr>
            <a:xfrm rot="10800000">
              <a:off x="746775" y="1657471"/>
              <a:ext cx="0" cy="1110900"/>
            </a:xfrm>
            <a:prstGeom prst="straightConnector1">
              <a:avLst/>
            </a:prstGeom>
            <a:grpFill/>
            <a:ln w="19050" cap="flat" cmpd="sng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 type="none" w="sm" len="sm"/>
              <a:tailEnd type="oval" w="med" len="med"/>
            </a:ln>
            <a:scene3d>
              <a:camera prst="orthographicFront"/>
              <a:lightRig rig="threePt" dir="t"/>
            </a:scene3d>
            <a:sp3d>
              <a:bevelT/>
            </a:sp3d>
          </p:spPr>
        </p:cxnSp>
      </p:grpSp>
      <p:sp>
        <p:nvSpPr>
          <p:cNvPr id="9" name="Google Shape;81;p16">
            <a:extLst>
              <a:ext uri="{FF2B5EF4-FFF2-40B4-BE49-F238E27FC236}">
                <a16:creationId xmlns:a16="http://schemas.microsoft.com/office/drawing/2014/main" id="{E949A468-C4CA-46A2-B4CB-84D255554C8A}"/>
              </a:ext>
            </a:extLst>
          </p:cNvPr>
          <p:cNvSpPr txBox="1">
            <a:spLocks/>
          </p:cNvSpPr>
          <p:nvPr/>
        </p:nvSpPr>
        <p:spPr>
          <a:xfrm>
            <a:off x="2160231" y="1593929"/>
            <a:ext cx="3481484" cy="1208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Source Sans Pro"/>
              <a:buChar char="●"/>
              <a:defRPr sz="18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○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■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●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○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■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●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○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2"/>
              </a:buClr>
              <a:buSzPts val="1400"/>
              <a:buFont typeface="Source Sans Pro"/>
              <a:buChar char="■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Source Sans Pro"/>
              <a:buNone/>
              <a:tabLst/>
              <a:defRPr/>
            </a:pPr>
            <a:r>
              <a:rPr lang="en-GB" sz="1600" b="1" dirty="0">
                <a:solidFill>
                  <a:schemeClr val="accent6">
                    <a:lumMod val="20000"/>
                    <a:lumOff val="80000"/>
                  </a:schemeClr>
                </a:solidFill>
                <a:latin typeface="+mn-lt"/>
              </a:rPr>
              <a:t>Assistant Manager (Finance &amp; Pricing Analytics)</a:t>
            </a:r>
          </a:p>
          <a:p>
            <a:pPr marL="0" indent="0">
              <a:buClr>
                <a:srgbClr val="7F7F7F"/>
              </a:buClr>
              <a:buNone/>
              <a:defRPr/>
            </a:pPr>
            <a:r>
              <a:rPr lang="en-GB" sz="1200" kern="0" dirty="0">
                <a:solidFill>
                  <a:schemeClr val="bg1"/>
                </a:solidFill>
                <a:latin typeface="+mn-lt"/>
              </a:rPr>
              <a:t>Genpact India, Gurugram</a:t>
            </a:r>
          </a:p>
          <a:p>
            <a:pPr marL="0" indent="0">
              <a:buClr>
                <a:srgbClr val="7F7F7F"/>
              </a:buClr>
              <a:buNone/>
              <a:defRPr/>
            </a:pPr>
            <a:r>
              <a:rPr lang="en-GB" sz="1200" kern="0" dirty="0">
                <a:solidFill>
                  <a:schemeClr val="bg1"/>
                </a:solidFill>
                <a:latin typeface="+mn-lt"/>
              </a:rPr>
              <a:t>Jul 2011 - Nov 2015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7F7F7F"/>
              </a:buClr>
              <a:buSzPts val="1800"/>
              <a:buFont typeface="Source Sans Pro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7F7F7F"/>
              </a:buClr>
              <a:buSzPts val="1800"/>
              <a:buFont typeface="Source Sans Pro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</p:txBody>
      </p:sp>
      <p:sp>
        <p:nvSpPr>
          <p:cNvPr id="10" name="Google Shape;85;p16">
            <a:extLst>
              <a:ext uri="{FF2B5EF4-FFF2-40B4-BE49-F238E27FC236}">
                <a16:creationId xmlns:a16="http://schemas.microsoft.com/office/drawing/2014/main" id="{7CB86217-CB81-44FC-A9F4-E89B98F4A0D0}"/>
              </a:ext>
            </a:extLst>
          </p:cNvPr>
          <p:cNvSpPr txBox="1">
            <a:spLocks/>
          </p:cNvSpPr>
          <p:nvPr/>
        </p:nvSpPr>
        <p:spPr>
          <a:xfrm>
            <a:off x="3791398" y="3694846"/>
            <a:ext cx="3616177" cy="1321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Source Sans Pro"/>
              <a:buChar char="●"/>
              <a:defRPr sz="18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○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■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●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○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■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●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○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2"/>
              </a:buClr>
              <a:buSzPts val="1400"/>
              <a:buFont typeface="Source Sans Pro"/>
              <a:buChar char="■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Source Sans Pro"/>
              <a:buNone/>
              <a:tabLst/>
              <a:defRPr/>
            </a:pPr>
            <a:r>
              <a:rPr lang="en-GB" sz="1600" b="1" dirty="0">
                <a:solidFill>
                  <a:schemeClr val="accent6">
                    <a:lumMod val="20000"/>
                    <a:lumOff val="80000"/>
                  </a:schemeClr>
                </a:solidFill>
                <a:latin typeface="+mn-lt"/>
              </a:rPr>
              <a:t>PGPBA</a:t>
            </a:r>
          </a:p>
          <a:p>
            <a:pPr marL="0" indent="0">
              <a:buClr>
                <a:srgbClr val="7F7F7F"/>
              </a:buClr>
              <a:buNone/>
              <a:defRPr/>
            </a:pPr>
            <a:r>
              <a:rPr lang="en-GB" sz="1200" kern="0" dirty="0">
                <a:solidFill>
                  <a:schemeClr val="bg1"/>
                </a:solidFill>
                <a:latin typeface="+mn-lt"/>
              </a:rPr>
              <a:t>Great Lakes Institute of Management, Gurgaon/Bangalore</a:t>
            </a:r>
          </a:p>
          <a:p>
            <a:pPr marL="0" indent="0">
              <a:buClr>
                <a:srgbClr val="7F7F7F"/>
              </a:buClr>
              <a:buNone/>
              <a:defRPr/>
            </a:pPr>
            <a:r>
              <a:rPr lang="en-GB" sz="1200" kern="0" dirty="0">
                <a:solidFill>
                  <a:schemeClr val="bg1"/>
                </a:solidFill>
                <a:latin typeface="+mn-lt"/>
              </a:rPr>
              <a:t>July 2015 - July 2016</a:t>
            </a:r>
          </a:p>
        </p:txBody>
      </p:sp>
      <p:sp>
        <p:nvSpPr>
          <p:cNvPr id="11" name="Google Shape;89;p16">
            <a:extLst>
              <a:ext uri="{FF2B5EF4-FFF2-40B4-BE49-F238E27FC236}">
                <a16:creationId xmlns:a16="http://schemas.microsoft.com/office/drawing/2014/main" id="{B66DFDEB-89DA-4F86-96FD-000AB25876FB}"/>
              </a:ext>
            </a:extLst>
          </p:cNvPr>
          <p:cNvSpPr txBox="1">
            <a:spLocks/>
          </p:cNvSpPr>
          <p:nvPr/>
        </p:nvSpPr>
        <p:spPr>
          <a:xfrm>
            <a:off x="5504206" y="1593929"/>
            <a:ext cx="3545719" cy="1294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Source Sans Pro"/>
              <a:buChar char="●"/>
              <a:defRPr sz="18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○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■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●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○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■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●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○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2"/>
              </a:buClr>
              <a:buSzPts val="1400"/>
              <a:buFont typeface="Source Sans Pro"/>
              <a:buChar char="■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Source Sans Pro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LnTx/>
                <a:uFillTx/>
                <a:latin typeface="+mn-lt"/>
                <a:ea typeface="Source Sans Pro"/>
                <a:sym typeface="Source Sans Pro"/>
              </a:rPr>
              <a:t>Lead (Business Analytics &amp; Research)  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Source Sans Pro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Source Sans Pro"/>
                <a:sym typeface="Source Sans Pro"/>
              </a:rPr>
              <a:t>Fidelity Investments, Bengaluru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Source Sans Pro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Source Sans Pro"/>
                <a:sym typeface="Source Sans Pro"/>
              </a:rPr>
              <a:t>Nov 2015 - Jan 2019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7F7F7F"/>
              </a:buClr>
              <a:buSzPts val="1800"/>
              <a:buFont typeface="Source Sans Pro"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</p:txBody>
      </p:sp>
      <p:sp>
        <p:nvSpPr>
          <p:cNvPr id="12" name="Google Shape;93;p16">
            <a:extLst>
              <a:ext uri="{FF2B5EF4-FFF2-40B4-BE49-F238E27FC236}">
                <a16:creationId xmlns:a16="http://schemas.microsoft.com/office/drawing/2014/main" id="{49A8185B-98F6-46E9-A8B0-AAB1EB08E384}"/>
              </a:ext>
            </a:extLst>
          </p:cNvPr>
          <p:cNvSpPr txBox="1">
            <a:spLocks/>
          </p:cNvSpPr>
          <p:nvPr/>
        </p:nvSpPr>
        <p:spPr>
          <a:xfrm>
            <a:off x="7162142" y="3720288"/>
            <a:ext cx="3258207" cy="1321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Source Sans Pro"/>
              <a:buChar char="●"/>
              <a:defRPr sz="18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○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■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●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○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■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●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Source Sans Pro"/>
              <a:buChar char="○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2"/>
              </a:buClr>
              <a:buSzPts val="1400"/>
              <a:buFont typeface="Source Sans Pro"/>
              <a:buChar char="■"/>
              <a:defRPr sz="1400" b="0" i="0" u="none" strike="noStrike" cap="none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Source Sans Pro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LnTx/>
                <a:uFillTx/>
                <a:latin typeface="+mn-lt"/>
                <a:ea typeface="Source Sans Pro"/>
                <a:sym typeface="Source Sans Pro"/>
              </a:rPr>
              <a:t>Senior </a:t>
            </a: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LnTx/>
                <a:uFillTx/>
                <a:latin typeface="+mn-lt"/>
                <a:ea typeface="Source Sans Pro"/>
                <a:sym typeface="Source Sans Pro"/>
              </a:rPr>
              <a:t>Technical Product Manager (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LnTx/>
                <a:uFillTx/>
                <a:latin typeface="+mn-lt"/>
                <a:ea typeface="Source Sans Pro"/>
                <a:sym typeface="Source Sans Pro"/>
              </a:rPr>
              <a:t>Global Data Science)</a:t>
            </a:r>
          </a:p>
          <a:p>
            <a:pPr marL="0" indent="0">
              <a:buClr>
                <a:srgbClr val="7F7F7F"/>
              </a:buClr>
              <a:buNone/>
              <a:defRPr/>
            </a:pPr>
            <a:r>
              <a:rPr lang="en-GB" sz="1200" kern="0" dirty="0">
                <a:solidFill>
                  <a:schemeClr val="bg1"/>
                </a:solidFill>
                <a:latin typeface="+mn-lt"/>
              </a:rPr>
              <a:t>PayPal India, Chennai</a:t>
            </a:r>
          </a:p>
          <a:p>
            <a:pPr marL="0" indent="0">
              <a:buClr>
                <a:srgbClr val="7F7F7F"/>
              </a:buClr>
              <a:buNone/>
              <a:defRPr/>
            </a:pPr>
            <a:r>
              <a:rPr lang="en-GB" sz="1200" kern="0" dirty="0">
                <a:solidFill>
                  <a:schemeClr val="bg1"/>
                </a:solidFill>
                <a:latin typeface="+mn-lt"/>
              </a:rPr>
              <a:t>Jan 2019 - Present</a:t>
            </a:r>
          </a:p>
        </p:txBody>
      </p:sp>
      <p:grpSp>
        <p:nvGrpSpPr>
          <p:cNvPr id="14" name="Google Shape;78;p16">
            <a:extLst>
              <a:ext uri="{FF2B5EF4-FFF2-40B4-BE49-F238E27FC236}">
                <a16:creationId xmlns:a16="http://schemas.microsoft.com/office/drawing/2014/main" id="{B5B5864D-05B9-413C-BED1-D6B1C5728D66}"/>
              </a:ext>
            </a:extLst>
          </p:cNvPr>
          <p:cNvGrpSpPr/>
          <p:nvPr/>
        </p:nvGrpSpPr>
        <p:grpSpPr>
          <a:xfrm rot="10800000">
            <a:off x="3595199" y="3074300"/>
            <a:ext cx="219054" cy="1306800"/>
            <a:chOff x="648675" y="1657471"/>
            <a:chExt cx="196200" cy="1306800"/>
          </a:xfrm>
          <a:solidFill>
            <a:srgbClr val="000099"/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grpSpPr>
        <p:sp>
          <p:nvSpPr>
            <p:cNvPr id="15" name="Google Shape;79;p16">
              <a:extLst>
                <a:ext uri="{FF2B5EF4-FFF2-40B4-BE49-F238E27FC236}">
                  <a16:creationId xmlns:a16="http://schemas.microsoft.com/office/drawing/2014/main" id="{6C2F28D7-2C08-44A6-8DC7-2E8E84FE2189}"/>
                </a:ext>
              </a:extLst>
            </p:cNvPr>
            <p:cNvSpPr/>
            <p:nvPr/>
          </p:nvSpPr>
          <p:spPr>
            <a:xfrm>
              <a:off x="648675" y="2768371"/>
              <a:ext cx="196200" cy="195900"/>
            </a:xfrm>
            <a:prstGeom prst="ellipse">
              <a:avLst/>
            </a:prstGeom>
            <a:grpFill/>
            <a:ln>
              <a:solidFill>
                <a:schemeClr val="accent5">
                  <a:lumMod val="60000"/>
                  <a:lumOff val="4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16" name="Google Shape;80;p16">
              <a:extLst>
                <a:ext uri="{FF2B5EF4-FFF2-40B4-BE49-F238E27FC236}">
                  <a16:creationId xmlns:a16="http://schemas.microsoft.com/office/drawing/2014/main" id="{D4119FCA-09FE-4448-879F-8C5C710FA4B2}"/>
                </a:ext>
              </a:extLst>
            </p:cNvPr>
            <p:cNvCxnSpPr>
              <a:stCxn id="15" idx="0"/>
            </p:cNvCxnSpPr>
            <p:nvPr/>
          </p:nvCxnSpPr>
          <p:spPr>
            <a:xfrm rot="10800000">
              <a:off x="746775" y="1657471"/>
              <a:ext cx="0" cy="1110900"/>
            </a:xfrm>
            <a:prstGeom prst="straightConnector1">
              <a:avLst/>
            </a:prstGeom>
            <a:grpFill/>
            <a:ln w="19050" cap="flat" cmpd="sng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 type="none" w="sm" len="sm"/>
              <a:tailEnd type="oval" w="med" len="med"/>
            </a:ln>
            <a:scene3d>
              <a:camera prst="orthographicFront"/>
              <a:lightRig rig="threePt" dir="t"/>
            </a:scene3d>
            <a:sp3d>
              <a:bevelT/>
            </a:sp3d>
          </p:spPr>
        </p:cxnSp>
      </p:grpSp>
      <p:grpSp>
        <p:nvGrpSpPr>
          <p:cNvPr id="17" name="Google Shape;78;p16">
            <a:extLst>
              <a:ext uri="{FF2B5EF4-FFF2-40B4-BE49-F238E27FC236}">
                <a16:creationId xmlns:a16="http://schemas.microsoft.com/office/drawing/2014/main" id="{277C2604-2484-4CB4-B7E2-0D713360CDC5}"/>
              </a:ext>
            </a:extLst>
          </p:cNvPr>
          <p:cNvGrpSpPr/>
          <p:nvPr/>
        </p:nvGrpSpPr>
        <p:grpSpPr>
          <a:xfrm rot="10800000">
            <a:off x="6965943" y="3081116"/>
            <a:ext cx="219054" cy="1306800"/>
            <a:chOff x="648675" y="1657471"/>
            <a:chExt cx="196200" cy="1306800"/>
          </a:xfrm>
          <a:solidFill>
            <a:srgbClr val="000099"/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grpSpPr>
        <p:sp>
          <p:nvSpPr>
            <p:cNvPr id="18" name="Google Shape;79;p16">
              <a:extLst>
                <a:ext uri="{FF2B5EF4-FFF2-40B4-BE49-F238E27FC236}">
                  <a16:creationId xmlns:a16="http://schemas.microsoft.com/office/drawing/2014/main" id="{0BAF5284-310F-4EC4-816D-2E60F5024DD0}"/>
                </a:ext>
              </a:extLst>
            </p:cNvPr>
            <p:cNvSpPr/>
            <p:nvPr/>
          </p:nvSpPr>
          <p:spPr>
            <a:xfrm>
              <a:off x="648675" y="2768371"/>
              <a:ext cx="196200" cy="195900"/>
            </a:xfrm>
            <a:prstGeom prst="ellipse">
              <a:avLst/>
            </a:prstGeom>
            <a:grpFill/>
            <a:ln>
              <a:solidFill>
                <a:schemeClr val="accent5">
                  <a:lumMod val="60000"/>
                  <a:lumOff val="4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19" name="Google Shape;80;p16">
              <a:extLst>
                <a:ext uri="{FF2B5EF4-FFF2-40B4-BE49-F238E27FC236}">
                  <a16:creationId xmlns:a16="http://schemas.microsoft.com/office/drawing/2014/main" id="{D3C3E914-1CA6-4C26-BF31-01BBD906E89B}"/>
                </a:ext>
              </a:extLst>
            </p:cNvPr>
            <p:cNvCxnSpPr>
              <a:stCxn id="18" idx="0"/>
            </p:cNvCxnSpPr>
            <p:nvPr/>
          </p:nvCxnSpPr>
          <p:spPr>
            <a:xfrm rot="10800000">
              <a:off x="746775" y="1657471"/>
              <a:ext cx="0" cy="1110900"/>
            </a:xfrm>
            <a:prstGeom prst="straightConnector1">
              <a:avLst/>
            </a:prstGeom>
            <a:grpFill/>
            <a:ln w="19050" cap="flat" cmpd="sng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 type="none" w="sm" len="sm"/>
              <a:tailEnd type="oval" w="med" len="med"/>
            </a:ln>
            <a:scene3d>
              <a:camera prst="orthographicFront"/>
              <a:lightRig rig="threePt" dir="t"/>
            </a:scene3d>
            <a:sp3d>
              <a:bevelT/>
            </a:sp3d>
          </p:spPr>
        </p:cxnSp>
      </p:grpSp>
      <p:grpSp>
        <p:nvGrpSpPr>
          <p:cNvPr id="20" name="Google Shape;78;p16">
            <a:extLst>
              <a:ext uri="{FF2B5EF4-FFF2-40B4-BE49-F238E27FC236}">
                <a16:creationId xmlns:a16="http://schemas.microsoft.com/office/drawing/2014/main" id="{3223817B-4773-4E2C-8BA7-B805139D0373}"/>
              </a:ext>
            </a:extLst>
          </p:cNvPr>
          <p:cNvGrpSpPr/>
          <p:nvPr/>
        </p:nvGrpSpPr>
        <p:grpSpPr>
          <a:xfrm>
            <a:off x="5254558" y="1970216"/>
            <a:ext cx="219054" cy="1306800"/>
            <a:chOff x="648675" y="1657471"/>
            <a:chExt cx="196200" cy="1306800"/>
          </a:xfrm>
          <a:solidFill>
            <a:srgbClr val="000099"/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grpSpPr>
        <p:sp>
          <p:nvSpPr>
            <p:cNvPr id="21" name="Google Shape;79;p16">
              <a:extLst>
                <a:ext uri="{FF2B5EF4-FFF2-40B4-BE49-F238E27FC236}">
                  <a16:creationId xmlns:a16="http://schemas.microsoft.com/office/drawing/2014/main" id="{3B6C4968-0A32-4B64-B089-B96A80CFDC6A}"/>
                </a:ext>
              </a:extLst>
            </p:cNvPr>
            <p:cNvSpPr/>
            <p:nvPr/>
          </p:nvSpPr>
          <p:spPr>
            <a:xfrm>
              <a:off x="648675" y="2768371"/>
              <a:ext cx="196200" cy="195900"/>
            </a:xfrm>
            <a:prstGeom prst="ellipse">
              <a:avLst/>
            </a:prstGeom>
            <a:grpFill/>
            <a:ln>
              <a:solidFill>
                <a:schemeClr val="accent5">
                  <a:lumMod val="60000"/>
                  <a:lumOff val="4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22" name="Google Shape;80;p16">
              <a:extLst>
                <a:ext uri="{FF2B5EF4-FFF2-40B4-BE49-F238E27FC236}">
                  <a16:creationId xmlns:a16="http://schemas.microsoft.com/office/drawing/2014/main" id="{DC4694C9-F897-41E4-8E48-1AE9C023DAA4}"/>
                </a:ext>
              </a:extLst>
            </p:cNvPr>
            <p:cNvCxnSpPr>
              <a:stCxn id="21" idx="0"/>
            </p:cNvCxnSpPr>
            <p:nvPr/>
          </p:nvCxnSpPr>
          <p:spPr>
            <a:xfrm rot="10800000">
              <a:off x="746775" y="1657471"/>
              <a:ext cx="0" cy="1110900"/>
            </a:xfrm>
            <a:prstGeom prst="straightConnector1">
              <a:avLst/>
            </a:prstGeom>
            <a:grpFill/>
            <a:ln w="19050" cap="flat" cmpd="sng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 type="none" w="sm" len="sm"/>
              <a:tailEnd type="oval" w="med" len="med"/>
            </a:ln>
            <a:scene3d>
              <a:camera prst="orthographicFront"/>
              <a:lightRig rig="threePt" dir="t"/>
            </a:scene3d>
            <a:sp3d>
              <a:bevelT/>
            </a:sp3d>
          </p:spPr>
        </p:cxnSp>
      </p:grpSp>
    </p:spTree>
    <p:extLst>
      <p:ext uri="{BB962C8B-B14F-4D97-AF65-F5344CB8AC3E}">
        <p14:creationId xmlns:p14="http://schemas.microsoft.com/office/powerpoint/2010/main" val="4100885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82FCD9-9CF2-4596-B7F0-B7DA49EDB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28670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82FCD9-9CF2-4596-B7F0-B7DA49EDB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C270430-FB37-419B-A00E-56A103DFFC6E}"/>
              </a:ext>
            </a:extLst>
          </p:cNvPr>
          <p:cNvSpPr txBox="1"/>
          <p:nvPr/>
        </p:nvSpPr>
        <p:spPr>
          <a:xfrm>
            <a:off x="4709445" y="1515399"/>
            <a:ext cx="6825330" cy="38272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189" indent="-457189" defTabSz="1219170">
              <a:spcAft>
                <a:spcPts val="1600"/>
              </a:spcAft>
              <a:buClr>
                <a:srgbClr val="000000"/>
              </a:buClr>
              <a:buFont typeface="+mj-lt"/>
              <a:buAutoNum type="arabicPeriod"/>
            </a:pPr>
            <a:r>
              <a:rPr lang="en-US" sz="1867" b="1" kern="0" dirty="0">
                <a:solidFill>
                  <a:srgbClr val="FFFFFF"/>
                </a:solidFill>
                <a:latin typeface="Nunito"/>
                <a:cs typeface="Arial"/>
                <a:sym typeface="Nunito"/>
              </a:rPr>
              <a:t>Objective</a:t>
            </a:r>
          </a:p>
          <a:p>
            <a:pPr marL="457189" indent="-457189" defTabSz="1219170">
              <a:spcAft>
                <a:spcPts val="1600"/>
              </a:spcAft>
              <a:buClr>
                <a:srgbClr val="000000"/>
              </a:buClr>
              <a:buFont typeface="+mj-lt"/>
              <a:buAutoNum type="arabicPeriod"/>
            </a:pPr>
            <a:r>
              <a:rPr lang="en-US" sz="1867" b="1" kern="0" dirty="0">
                <a:solidFill>
                  <a:srgbClr val="FFFFFF"/>
                </a:solidFill>
                <a:latin typeface="Nunito"/>
                <a:cs typeface="Arial"/>
                <a:sym typeface="Nunito"/>
              </a:rPr>
              <a:t>What is Data Science?</a:t>
            </a:r>
          </a:p>
          <a:p>
            <a:pPr marL="457189" indent="-457189" defTabSz="1219170">
              <a:spcAft>
                <a:spcPts val="1600"/>
              </a:spcAft>
              <a:buClr>
                <a:srgbClr val="000000"/>
              </a:buClr>
              <a:buFont typeface="+mj-lt"/>
              <a:buAutoNum type="arabicPeriod"/>
            </a:pPr>
            <a:r>
              <a:rPr lang="en-US" sz="1867" b="1" kern="0" dirty="0">
                <a:solidFill>
                  <a:srgbClr val="FFFFFF"/>
                </a:solidFill>
                <a:latin typeface="Nunito"/>
                <a:cs typeface="Arial"/>
                <a:sym typeface="Nunito"/>
              </a:rPr>
              <a:t>Data Science Process</a:t>
            </a:r>
          </a:p>
          <a:p>
            <a:pPr marL="457189" indent="-457189" defTabSz="1219170">
              <a:spcAft>
                <a:spcPts val="1600"/>
              </a:spcAft>
              <a:buClr>
                <a:srgbClr val="000000"/>
              </a:buClr>
              <a:buFont typeface="+mj-lt"/>
              <a:buAutoNum type="arabicPeriod"/>
            </a:pPr>
            <a:r>
              <a:rPr lang="en-US" sz="1867" b="1" kern="0" dirty="0">
                <a:solidFill>
                  <a:srgbClr val="FFFFFF"/>
                </a:solidFill>
                <a:latin typeface="Nunito"/>
                <a:cs typeface="Arial"/>
                <a:sym typeface="Nunito"/>
              </a:rPr>
              <a:t>Pre-requisites</a:t>
            </a:r>
          </a:p>
          <a:p>
            <a:pPr marL="457189" indent="-457189" defTabSz="1219170">
              <a:spcAft>
                <a:spcPts val="1600"/>
              </a:spcAft>
              <a:buClr>
                <a:srgbClr val="000000"/>
              </a:buClr>
              <a:buFont typeface="+mj-lt"/>
              <a:buAutoNum type="arabicPeriod"/>
            </a:pPr>
            <a:r>
              <a:rPr lang="en-US" sz="1867" b="1" kern="0" dirty="0">
                <a:solidFill>
                  <a:srgbClr val="FFFFFF"/>
                </a:solidFill>
                <a:latin typeface="Nunito"/>
                <a:cs typeface="Arial"/>
                <a:sym typeface="Nunito"/>
              </a:rPr>
              <a:t>Roles and Market Opportunities</a:t>
            </a:r>
          </a:p>
          <a:p>
            <a:pPr marL="457189" indent="-457189" defTabSz="1219170">
              <a:spcAft>
                <a:spcPts val="1600"/>
              </a:spcAft>
              <a:buClr>
                <a:srgbClr val="000000"/>
              </a:buClr>
              <a:buFont typeface="+mj-lt"/>
              <a:buAutoNum type="arabicPeriod"/>
            </a:pPr>
            <a:r>
              <a:rPr lang="en-US" sz="1867" b="1" kern="0" dirty="0">
                <a:solidFill>
                  <a:srgbClr val="FFFFFF"/>
                </a:solidFill>
                <a:latin typeface="Nunito"/>
                <a:cs typeface="Arial"/>
                <a:sym typeface="Nunito"/>
              </a:rPr>
              <a:t>Data Science Readiness Toolkit</a:t>
            </a:r>
          </a:p>
          <a:p>
            <a:pPr marL="457189" indent="-457189" defTabSz="1219170">
              <a:spcAft>
                <a:spcPts val="1600"/>
              </a:spcAft>
              <a:buClr>
                <a:srgbClr val="000000"/>
              </a:buClr>
              <a:buFont typeface="+mj-lt"/>
              <a:buAutoNum type="arabicPeriod"/>
            </a:pPr>
            <a:r>
              <a:rPr lang="en-US" sz="1867" b="1" kern="0" dirty="0">
                <a:solidFill>
                  <a:srgbClr val="FFFFFF"/>
                </a:solidFill>
                <a:latin typeface="Nunito"/>
                <a:cs typeface="Arial"/>
                <a:sym typeface="Nunito"/>
              </a:rPr>
              <a:t>Where we can learn from</a:t>
            </a:r>
          </a:p>
          <a:p>
            <a:pPr marL="457189" indent="-457189" defTabSz="1219170">
              <a:spcAft>
                <a:spcPts val="1600"/>
              </a:spcAft>
              <a:buClr>
                <a:srgbClr val="000000"/>
              </a:buClr>
              <a:buFont typeface="+mj-lt"/>
              <a:buAutoNum type="arabicPeriod"/>
            </a:pPr>
            <a:r>
              <a:rPr lang="en-US" sz="1867" b="1" kern="0" dirty="0">
                <a:solidFill>
                  <a:srgbClr val="FFFFFF"/>
                </a:solidFill>
                <a:latin typeface="Nunito"/>
                <a:cs typeface="Arial"/>
                <a:sym typeface="Nunito"/>
              </a:rPr>
              <a:t>Q&amp;A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BA3ABE0-FEA6-419E-B44B-382221E5090C}"/>
              </a:ext>
            </a:extLst>
          </p:cNvPr>
          <p:cNvCxnSpPr>
            <a:cxnSpLocks/>
          </p:cNvCxnSpPr>
          <p:nvPr/>
        </p:nvCxnSpPr>
        <p:spPr>
          <a:xfrm>
            <a:off x="4462273" y="1171575"/>
            <a:ext cx="0" cy="462980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CC3B56C1-4C4D-46BD-A080-B18E512C3AA4}"/>
              </a:ext>
            </a:extLst>
          </p:cNvPr>
          <p:cNvSpPr txBox="1"/>
          <p:nvPr/>
        </p:nvSpPr>
        <p:spPr>
          <a:xfrm>
            <a:off x="1105165" y="2743819"/>
            <a:ext cx="31099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4800" b="1" kern="0" dirty="0">
                <a:solidFill>
                  <a:srgbClr val="FFFFFF"/>
                </a:solidFill>
                <a:latin typeface="Nunito"/>
                <a:cs typeface="Arial"/>
                <a:sym typeface="Maven Pro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329326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82FCD9-9CF2-4596-B7F0-B7DA49EDB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974240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82FCD9-9CF2-4596-B7F0-B7DA49EDB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3" name="Google Shape;283;p14"/>
          <p:cNvSpPr txBox="1">
            <a:spLocks noGrp="1"/>
          </p:cNvSpPr>
          <p:nvPr>
            <p:ph type="ctrTitle"/>
          </p:nvPr>
        </p:nvSpPr>
        <p:spPr>
          <a:xfrm>
            <a:off x="218800" y="138934"/>
            <a:ext cx="11797600" cy="852959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 fontScale="90000"/>
          </a:bodyPr>
          <a:lstStyle/>
          <a:p>
            <a:r>
              <a:rPr lang="en" sz="4533" dirty="0"/>
              <a:t>Objective</a:t>
            </a:r>
            <a:endParaRPr sz="4533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395FA0-9498-4C5A-BC88-51CB36CF6F63}"/>
              </a:ext>
            </a:extLst>
          </p:cNvPr>
          <p:cNvSpPr txBox="1"/>
          <p:nvPr/>
        </p:nvSpPr>
        <p:spPr>
          <a:xfrm>
            <a:off x="197200" y="1252564"/>
            <a:ext cx="1179760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2000" kern="0" dirty="0">
                <a:solidFill>
                  <a:srgbClr val="FFFFFF"/>
                </a:solidFill>
                <a:latin typeface="Nunito"/>
                <a:cs typeface="Arial"/>
                <a:sym typeface="Nunito"/>
              </a:rPr>
              <a:t>Machine Learning Scientist/Artificial Intelligence are one of the most coveted job profiles of the current times. With a significant increase in overlap between IT/Technology and Data Science (especially Programming and Data Science Models) has widened the scope resulting in plethora of opportunities in the market. In our today's session, I am going to introduce you to the AI/ML career building nuances which will help transform you into tomorrow's professionals. We will talk about the necessary background required, an understanding of different technologies/frameworks, resume highlights followed by available jobs in the market.</a:t>
            </a:r>
          </a:p>
        </p:txBody>
      </p:sp>
    </p:spTree>
    <p:extLst>
      <p:ext uri="{BB962C8B-B14F-4D97-AF65-F5344CB8AC3E}">
        <p14:creationId xmlns:p14="http://schemas.microsoft.com/office/powerpoint/2010/main" val="37284259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82FCD9-9CF2-4596-B7F0-B7DA49EDB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62525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82FCD9-9CF2-4596-B7F0-B7DA49EDB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3" name="Google Shape;283;p14"/>
          <p:cNvSpPr txBox="1">
            <a:spLocks noGrp="1"/>
          </p:cNvSpPr>
          <p:nvPr>
            <p:ph type="ctrTitle"/>
          </p:nvPr>
        </p:nvSpPr>
        <p:spPr>
          <a:xfrm>
            <a:off x="76470" y="0"/>
            <a:ext cx="11797600" cy="852959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 fontScale="90000"/>
          </a:bodyPr>
          <a:lstStyle/>
          <a:p>
            <a:r>
              <a:rPr lang="en" sz="4533" dirty="0"/>
              <a:t>History of D</a:t>
            </a:r>
            <a:r>
              <a:rPr lang="en-US" sz="4533" dirty="0"/>
              <a:t>a</a:t>
            </a:r>
            <a:r>
              <a:rPr lang="en" sz="4533" dirty="0"/>
              <a:t>ta Science</a:t>
            </a:r>
            <a:endParaRPr sz="4533" dirty="0"/>
          </a:p>
        </p:txBody>
      </p:sp>
      <p:sp>
        <p:nvSpPr>
          <p:cNvPr id="9" name="Google Shape;284;p14">
            <a:extLst>
              <a:ext uri="{FF2B5EF4-FFF2-40B4-BE49-F238E27FC236}">
                <a16:creationId xmlns:a16="http://schemas.microsoft.com/office/drawing/2014/main" id="{00DEB2E1-C7E8-4428-8D34-7A34DD462FB0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36670" y="698372"/>
            <a:ext cx="11797600" cy="692278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indent="0"/>
            <a:r>
              <a:rPr lang="en-US" sz="1800" dirty="0"/>
              <a:t>“Data Science is about extraction, preparation, analysis, visualization, and maintenance of information. It is a cross-disciplinary field which uses scientific methods and processes to draw insights from data. ”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97BBE0-8904-4D54-8448-E26008954F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3050" y="1438115"/>
            <a:ext cx="8675566" cy="520034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21533562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82FCD9-9CF2-4596-B7F0-B7DA49EDB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59231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82FCD9-9CF2-4596-B7F0-B7DA49EDB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3" name="Google Shape;283;p14"/>
          <p:cNvSpPr txBox="1">
            <a:spLocks noGrp="1"/>
          </p:cNvSpPr>
          <p:nvPr>
            <p:ph type="ctrTitle"/>
          </p:nvPr>
        </p:nvSpPr>
        <p:spPr>
          <a:xfrm>
            <a:off x="218800" y="107937"/>
            <a:ext cx="11797600" cy="852959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 fontScale="90000"/>
          </a:bodyPr>
          <a:lstStyle/>
          <a:p>
            <a:r>
              <a:rPr lang="en-US" sz="4533" dirty="0"/>
              <a:t>Data Science Process</a:t>
            </a:r>
            <a:endParaRPr sz="4533" dirty="0"/>
          </a:p>
        </p:txBody>
      </p:sp>
      <p:sp>
        <p:nvSpPr>
          <p:cNvPr id="7" name="Google Shape;284;p14">
            <a:extLst>
              <a:ext uri="{FF2B5EF4-FFF2-40B4-BE49-F238E27FC236}">
                <a16:creationId xmlns:a16="http://schemas.microsoft.com/office/drawing/2014/main" id="{13DD9B67-4CAC-4F13-AAC1-9579F965CEA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3000" y="740898"/>
            <a:ext cx="11677200" cy="927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85000" lnSpcReduction="20000"/>
          </a:bodyPr>
          <a:lstStyle/>
          <a:p>
            <a:pPr marL="0" indent="0"/>
            <a:r>
              <a:rPr lang="en-US" dirty="0"/>
              <a:t>The most valuable skill of a Data Scientist is to be aware of the know-hows of the data and use it to provide/enhance business value. This includes imparting necessary insights to resolve business challenges, use machine learning models for better decision making which in turn help business in attaining their objectives.</a:t>
            </a:r>
          </a:p>
          <a:p>
            <a:pPr marL="0" indent="0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556381-F033-44C1-B728-7F111AC19D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52600" y="1810974"/>
            <a:ext cx="8686800" cy="45847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39573642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82FCD9-9CF2-4596-B7F0-B7DA49EDB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7201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82FCD9-9CF2-4596-B7F0-B7DA49EDB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3" name="Google Shape;283;p14"/>
          <p:cNvSpPr txBox="1">
            <a:spLocks noGrp="1"/>
          </p:cNvSpPr>
          <p:nvPr>
            <p:ph type="ctrTitle"/>
          </p:nvPr>
        </p:nvSpPr>
        <p:spPr>
          <a:xfrm>
            <a:off x="218800" y="14950"/>
            <a:ext cx="11797600" cy="852959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 fontScale="90000"/>
          </a:bodyPr>
          <a:lstStyle/>
          <a:p>
            <a:r>
              <a:rPr lang="en-US" sz="4533" dirty="0"/>
              <a:t>Pre-requisites</a:t>
            </a:r>
            <a:endParaRPr sz="4533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037A8E9-AF51-4B15-8EE6-9C945765D613}"/>
              </a:ext>
            </a:extLst>
          </p:cNvPr>
          <p:cNvGrpSpPr/>
          <p:nvPr/>
        </p:nvGrpSpPr>
        <p:grpSpPr>
          <a:xfrm>
            <a:off x="691659" y="2010778"/>
            <a:ext cx="2883284" cy="3113991"/>
            <a:chOff x="2106506" y="1192948"/>
            <a:chExt cx="2469820" cy="2668848"/>
          </a:xfrm>
        </p:grpSpPr>
        <p:sp>
          <p:nvSpPr>
            <p:cNvPr id="7" name="Graphic 4" descr="Clipboard">
              <a:extLst>
                <a:ext uri="{FF2B5EF4-FFF2-40B4-BE49-F238E27FC236}">
                  <a16:creationId xmlns:a16="http://schemas.microsoft.com/office/drawing/2014/main" id="{6379A0EF-C840-43B5-AE0E-44C21DFDB832}"/>
                </a:ext>
              </a:extLst>
            </p:cNvPr>
            <p:cNvSpPr/>
            <p:nvPr/>
          </p:nvSpPr>
          <p:spPr>
            <a:xfrm>
              <a:off x="2106506" y="1192948"/>
              <a:ext cx="1575399" cy="2032774"/>
            </a:xfrm>
            <a:custGeom>
              <a:avLst/>
              <a:gdLst>
                <a:gd name="connsiteX0" fmla="*/ 1422942 w 1575399"/>
                <a:gd name="connsiteY0" fmla="*/ 1880316 h 2032774"/>
                <a:gd name="connsiteX1" fmla="*/ 152458 w 1575399"/>
                <a:gd name="connsiteY1" fmla="*/ 1880316 h 2032774"/>
                <a:gd name="connsiteX2" fmla="*/ 152458 w 1575399"/>
                <a:gd name="connsiteY2" fmla="*/ 304916 h 2032774"/>
                <a:gd name="connsiteX3" fmla="*/ 431965 w 1575399"/>
                <a:gd name="connsiteY3" fmla="*/ 304916 h 2032774"/>
                <a:gd name="connsiteX4" fmla="*/ 431965 w 1575399"/>
                <a:gd name="connsiteY4" fmla="*/ 457374 h 2032774"/>
                <a:gd name="connsiteX5" fmla="*/ 1143436 w 1575399"/>
                <a:gd name="connsiteY5" fmla="*/ 457374 h 2032774"/>
                <a:gd name="connsiteX6" fmla="*/ 1143436 w 1575399"/>
                <a:gd name="connsiteY6" fmla="*/ 304916 h 2032774"/>
                <a:gd name="connsiteX7" fmla="*/ 1422942 w 1575399"/>
                <a:gd name="connsiteY7" fmla="*/ 304916 h 2032774"/>
                <a:gd name="connsiteX8" fmla="*/ 1422942 w 1575399"/>
                <a:gd name="connsiteY8" fmla="*/ 1880316 h 2032774"/>
                <a:gd name="connsiteX9" fmla="*/ 787700 w 1575399"/>
                <a:gd name="connsiteY9" fmla="*/ 101639 h 2032774"/>
                <a:gd name="connsiteX10" fmla="*/ 863929 w 1575399"/>
                <a:gd name="connsiteY10" fmla="*/ 177868 h 2032774"/>
                <a:gd name="connsiteX11" fmla="*/ 787700 w 1575399"/>
                <a:gd name="connsiteY11" fmla="*/ 254097 h 2032774"/>
                <a:gd name="connsiteX12" fmla="*/ 711471 w 1575399"/>
                <a:gd name="connsiteY12" fmla="*/ 177868 h 2032774"/>
                <a:gd name="connsiteX13" fmla="*/ 734340 w 1575399"/>
                <a:gd name="connsiteY13" fmla="*/ 124507 h 2032774"/>
                <a:gd name="connsiteX14" fmla="*/ 787700 w 1575399"/>
                <a:gd name="connsiteY14" fmla="*/ 101639 h 2032774"/>
                <a:gd name="connsiteX15" fmla="*/ 1473761 w 1575399"/>
                <a:gd name="connsiteY15" fmla="*/ 152458 h 2032774"/>
                <a:gd name="connsiteX16" fmla="*/ 1041797 w 1575399"/>
                <a:gd name="connsiteY16" fmla="*/ 152458 h 2032774"/>
                <a:gd name="connsiteX17" fmla="*/ 1041797 w 1575399"/>
                <a:gd name="connsiteY17" fmla="*/ 101639 h 2032774"/>
                <a:gd name="connsiteX18" fmla="*/ 940158 w 1575399"/>
                <a:gd name="connsiteY18" fmla="*/ 0 h 2032774"/>
                <a:gd name="connsiteX19" fmla="*/ 635242 w 1575399"/>
                <a:gd name="connsiteY19" fmla="*/ 0 h 2032774"/>
                <a:gd name="connsiteX20" fmla="*/ 533603 w 1575399"/>
                <a:gd name="connsiteY20" fmla="*/ 101639 h 2032774"/>
                <a:gd name="connsiteX21" fmla="*/ 533603 w 1575399"/>
                <a:gd name="connsiteY21" fmla="*/ 152458 h 2032774"/>
                <a:gd name="connsiteX22" fmla="*/ 101639 w 1575399"/>
                <a:gd name="connsiteY22" fmla="*/ 152458 h 2032774"/>
                <a:gd name="connsiteX23" fmla="*/ 0 w 1575399"/>
                <a:gd name="connsiteY23" fmla="*/ 254097 h 2032774"/>
                <a:gd name="connsiteX24" fmla="*/ 0 w 1575399"/>
                <a:gd name="connsiteY24" fmla="*/ 1931136 h 2032774"/>
                <a:gd name="connsiteX25" fmla="*/ 101639 w 1575399"/>
                <a:gd name="connsiteY25" fmla="*/ 2032774 h 2032774"/>
                <a:gd name="connsiteX26" fmla="*/ 1473761 w 1575399"/>
                <a:gd name="connsiteY26" fmla="*/ 2032774 h 2032774"/>
                <a:gd name="connsiteX27" fmla="*/ 1575400 w 1575399"/>
                <a:gd name="connsiteY27" fmla="*/ 1931136 h 2032774"/>
                <a:gd name="connsiteX28" fmla="*/ 1575400 w 1575399"/>
                <a:gd name="connsiteY28" fmla="*/ 254097 h 2032774"/>
                <a:gd name="connsiteX29" fmla="*/ 1473761 w 1575399"/>
                <a:gd name="connsiteY29" fmla="*/ 152458 h 2032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75399" h="2032774">
                  <a:moveTo>
                    <a:pt x="1422942" y="1880316"/>
                  </a:moveTo>
                  <a:lnTo>
                    <a:pt x="152458" y="1880316"/>
                  </a:lnTo>
                  <a:lnTo>
                    <a:pt x="152458" y="304916"/>
                  </a:lnTo>
                  <a:lnTo>
                    <a:pt x="431965" y="304916"/>
                  </a:lnTo>
                  <a:lnTo>
                    <a:pt x="431965" y="457374"/>
                  </a:lnTo>
                  <a:lnTo>
                    <a:pt x="1143436" y="457374"/>
                  </a:lnTo>
                  <a:lnTo>
                    <a:pt x="1143436" y="304916"/>
                  </a:lnTo>
                  <a:lnTo>
                    <a:pt x="1422942" y="304916"/>
                  </a:lnTo>
                  <a:lnTo>
                    <a:pt x="1422942" y="1880316"/>
                  </a:lnTo>
                  <a:close/>
                  <a:moveTo>
                    <a:pt x="787700" y="101639"/>
                  </a:moveTo>
                  <a:cubicBezTo>
                    <a:pt x="830896" y="101639"/>
                    <a:pt x="863929" y="134671"/>
                    <a:pt x="863929" y="177868"/>
                  </a:cubicBezTo>
                  <a:cubicBezTo>
                    <a:pt x="863929" y="221064"/>
                    <a:pt x="830896" y="254097"/>
                    <a:pt x="787700" y="254097"/>
                  </a:cubicBezTo>
                  <a:cubicBezTo>
                    <a:pt x="744504" y="254097"/>
                    <a:pt x="711471" y="221064"/>
                    <a:pt x="711471" y="177868"/>
                  </a:cubicBezTo>
                  <a:cubicBezTo>
                    <a:pt x="711471" y="157540"/>
                    <a:pt x="719094" y="137212"/>
                    <a:pt x="734340" y="124507"/>
                  </a:cubicBezTo>
                  <a:cubicBezTo>
                    <a:pt x="747045" y="109262"/>
                    <a:pt x="767372" y="101639"/>
                    <a:pt x="787700" y="101639"/>
                  </a:cubicBezTo>
                  <a:close/>
                  <a:moveTo>
                    <a:pt x="1473761" y="152458"/>
                  </a:moveTo>
                  <a:lnTo>
                    <a:pt x="1041797" y="152458"/>
                  </a:lnTo>
                  <a:lnTo>
                    <a:pt x="1041797" y="101639"/>
                  </a:lnTo>
                  <a:cubicBezTo>
                    <a:pt x="1041797" y="45737"/>
                    <a:pt x="996059" y="0"/>
                    <a:pt x="940158" y="0"/>
                  </a:cubicBezTo>
                  <a:lnTo>
                    <a:pt x="635242" y="0"/>
                  </a:lnTo>
                  <a:cubicBezTo>
                    <a:pt x="579341" y="0"/>
                    <a:pt x="533603" y="45737"/>
                    <a:pt x="533603" y="101639"/>
                  </a:cubicBezTo>
                  <a:lnTo>
                    <a:pt x="533603" y="152458"/>
                  </a:lnTo>
                  <a:lnTo>
                    <a:pt x="101639" y="152458"/>
                  </a:lnTo>
                  <a:cubicBezTo>
                    <a:pt x="45737" y="152458"/>
                    <a:pt x="0" y="198195"/>
                    <a:pt x="0" y="254097"/>
                  </a:cubicBezTo>
                  <a:lnTo>
                    <a:pt x="0" y="1931136"/>
                  </a:lnTo>
                  <a:cubicBezTo>
                    <a:pt x="0" y="1987037"/>
                    <a:pt x="45737" y="2032774"/>
                    <a:pt x="101639" y="2032774"/>
                  </a:cubicBezTo>
                  <a:lnTo>
                    <a:pt x="1473761" y="2032774"/>
                  </a:lnTo>
                  <a:cubicBezTo>
                    <a:pt x="1529663" y="2032774"/>
                    <a:pt x="1575400" y="1987037"/>
                    <a:pt x="1575400" y="1931136"/>
                  </a:cubicBezTo>
                  <a:lnTo>
                    <a:pt x="1575400" y="254097"/>
                  </a:lnTo>
                  <a:cubicBezTo>
                    <a:pt x="1575400" y="198195"/>
                    <a:pt x="1529663" y="152458"/>
                    <a:pt x="1473761" y="152458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2540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lang="en-US" sz="16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99AC093-5135-4CCF-920B-B14D0BC7B1D8}"/>
                </a:ext>
              </a:extLst>
            </p:cNvPr>
            <p:cNvSpPr/>
            <p:nvPr/>
          </p:nvSpPr>
          <p:spPr>
            <a:xfrm>
              <a:off x="2416845" y="1905347"/>
              <a:ext cx="431964" cy="101638"/>
            </a:xfrm>
            <a:custGeom>
              <a:avLst/>
              <a:gdLst>
                <a:gd name="connsiteX0" fmla="*/ 0 w 431964"/>
                <a:gd name="connsiteY0" fmla="*/ 0 h 101638"/>
                <a:gd name="connsiteX1" fmla="*/ 431965 w 431964"/>
                <a:gd name="connsiteY1" fmla="*/ 0 h 101638"/>
                <a:gd name="connsiteX2" fmla="*/ 431965 w 431964"/>
                <a:gd name="connsiteY2" fmla="*/ 101639 h 101638"/>
                <a:gd name="connsiteX3" fmla="*/ 0 w 431964"/>
                <a:gd name="connsiteY3" fmla="*/ 101639 h 101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964" h="101638">
                  <a:moveTo>
                    <a:pt x="0" y="0"/>
                  </a:moveTo>
                  <a:lnTo>
                    <a:pt x="431965" y="0"/>
                  </a:lnTo>
                  <a:lnTo>
                    <a:pt x="431965" y="101639"/>
                  </a:lnTo>
                  <a:lnTo>
                    <a:pt x="0" y="101639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2540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lang="en-US" sz="16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121B307-E1E5-4795-8F98-BB814696F989}"/>
                </a:ext>
              </a:extLst>
            </p:cNvPr>
            <p:cNvSpPr/>
            <p:nvPr/>
          </p:nvSpPr>
          <p:spPr>
            <a:xfrm>
              <a:off x="2416845" y="2311902"/>
              <a:ext cx="431964" cy="101638"/>
            </a:xfrm>
            <a:custGeom>
              <a:avLst/>
              <a:gdLst>
                <a:gd name="connsiteX0" fmla="*/ 0 w 431964"/>
                <a:gd name="connsiteY0" fmla="*/ 0 h 101638"/>
                <a:gd name="connsiteX1" fmla="*/ 431965 w 431964"/>
                <a:gd name="connsiteY1" fmla="*/ 0 h 101638"/>
                <a:gd name="connsiteX2" fmla="*/ 431965 w 431964"/>
                <a:gd name="connsiteY2" fmla="*/ 101639 h 101638"/>
                <a:gd name="connsiteX3" fmla="*/ 0 w 431964"/>
                <a:gd name="connsiteY3" fmla="*/ 101639 h 101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964" h="101638">
                  <a:moveTo>
                    <a:pt x="0" y="0"/>
                  </a:moveTo>
                  <a:lnTo>
                    <a:pt x="431965" y="0"/>
                  </a:lnTo>
                  <a:lnTo>
                    <a:pt x="431965" y="101639"/>
                  </a:lnTo>
                  <a:lnTo>
                    <a:pt x="0" y="101639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2540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lang="en-US" sz="16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3CE1E0E-9E2B-4449-B413-2528DAC12128}"/>
                </a:ext>
              </a:extLst>
            </p:cNvPr>
            <p:cNvSpPr/>
            <p:nvPr/>
          </p:nvSpPr>
          <p:spPr>
            <a:xfrm>
              <a:off x="2416845" y="2718457"/>
              <a:ext cx="431964" cy="101638"/>
            </a:xfrm>
            <a:custGeom>
              <a:avLst/>
              <a:gdLst>
                <a:gd name="connsiteX0" fmla="*/ 0 w 431964"/>
                <a:gd name="connsiteY0" fmla="*/ 0 h 101638"/>
                <a:gd name="connsiteX1" fmla="*/ 431965 w 431964"/>
                <a:gd name="connsiteY1" fmla="*/ 0 h 101638"/>
                <a:gd name="connsiteX2" fmla="*/ 431965 w 431964"/>
                <a:gd name="connsiteY2" fmla="*/ 101639 h 101638"/>
                <a:gd name="connsiteX3" fmla="*/ 0 w 431964"/>
                <a:gd name="connsiteY3" fmla="*/ 101639 h 101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964" h="101638">
                  <a:moveTo>
                    <a:pt x="0" y="0"/>
                  </a:moveTo>
                  <a:lnTo>
                    <a:pt x="431965" y="0"/>
                  </a:lnTo>
                  <a:lnTo>
                    <a:pt x="431965" y="101639"/>
                  </a:lnTo>
                  <a:lnTo>
                    <a:pt x="0" y="101639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2540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lang="en-US" sz="16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EB31B08-1905-476C-B1B8-B9D5570F1D61}"/>
                </a:ext>
              </a:extLst>
            </p:cNvPr>
            <p:cNvSpPr/>
            <p:nvPr/>
          </p:nvSpPr>
          <p:spPr>
            <a:xfrm>
              <a:off x="3006350" y="1778299"/>
              <a:ext cx="376063" cy="309998"/>
            </a:xfrm>
            <a:custGeom>
              <a:avLst/>
              <a:gdLst>
                <a:gd name="connsiteX0" fmla="*/ 376063 w 376063"/>
                <a:gd name="connsiteY0" fmla="*/ 71147 h 309998"/>
                <a:gd name="connsiteX1" fmla="*/ 304916 w 376063"/>
                <a:gd name="connsiteY1" fmla="*/ 0 h 309998"/>
                <a:gd name="connsiteX2" fmla="*/ 137212 w 376063"/>
                <a:gd name="connsiteY2" fmla="*/ 167704 h 309998"/>
                <a:gd name="connsiteX3" fmla="*/ 71147 w 376063"/>
                <a:gd name="connsiteY3" fmla="*/ 101639 h 309998"/>
                <a:gd name="connsiteX4" fmla="*/ 0 w 376063"/>
                <a:gd name="connsiteY4" fmla="*/ 172786 h 309998"/>
                <a:gd name="connsiteX5" fmla="*/ 137212 w 376063"/>
                <a:gd name="connsiteY5" fmla="*/ 309998 h 309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6063" h="309998">
                  <a:moveTo>
                    <a:pt x="376063" y="71147"/>
                  </a:moveTo>
                  <a:lnTo>
                    <a:pt x="304916" y="0"/>
                  </a:lnTo>
                  <a:lnTo>
                    <a:pt x="137212" y="167704"/>
                  </a:lnTo>
                  <a:lnTo>
                    <a:pt x="71147" y="101639"/>
                  </a:lnTo>
                  <a:lnTo>
                    <a:pt x="0" y="172786"/>
                  </a:lnTo>
                  <a:lnTo>
                    <a:pt x="137212" y="309998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2540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lang="en-US" sz="16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71A14D4-D5B4-4E6C-BBC0-78BE2EF29B3B}"/>
                </a:ext>
              </a:extLst>
            </p:cNvPr>
            <p:cNvSpPr/>
            <p:nvPr/>
          </p:nvSpPr>
          <p:spPr>
            <a:xfrm>
              <a:off x="3006350" y="2184854"/>
              <a:ext cx="376063" cy="309998"/>
            </a:xfrm>
            <a:custGeom>
              <a:avLst/>
              <a:gdLst>
                <a:gd name="connsiteX0" fmla="*/ 376063 w 376063"/>
                <a:gd name="connsiteY0" fmla="*/ 71147 h 309998"/>
                <a:gd name="connsiteX1" fmla="*/ 304916 w 376063"/>
                <a:gd name="connsiteY1" fmla="*/ 0 h 309998"/>
                <a:gd name="connsiteX2" fmla="*/ 137212 w 376063"/>
                <a:gd name="connsiteY2" fmla="*/ 167704 h 309998"/>
                <a:gd name="connsiteX3" fmla="*/ 71147 w 376063"/>
                <a:gd name="connsiteY3" fmla="*/ 101639 h 309998"/>
                <a:gd name="connsiteX4" fmla="*/ 0 w 376063"/>
                <a:gd name="connsiteY4" fmla="*/ 172786 h 309998"/>
                <a:gd name="connsiteX5" fmla="*/ 137212 w 376063"/>
                <a:gd name="connsiteY5" fmla="*/ 309998 h 309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6063" h="309998">
                  <a:moveTo>
                    <a:pt x="376063" y="71147"/>
                  </a:moveTo>
                  <a:lnTo>
                    <a:pt x="304916" y="0"/>
                  </a:lnTo>
                  <a:lnTo>
                    <a:pt x="137212" y="167704"/>
                  </a:lnTo>
                  <a:lnTo>
                    <a:pt x="71147" y="101639"/>
                  </a:lnTo>
                  <a:lnTo>
                    <a:pt x="0" y="172786"/>
                  </a:lnTo>
                  <a:lnTo>
                    <a:pt x="137212" y="309998"/>
                  </a:lnTo>
                  <a:close/>
                </a:path>
              </a:pathLst>
            </a:custGeom>
            <a:solidFill>
              <a:srgbClr val="000000"/>
            </a:solidFill>
            <a:ln w="2540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lang="en-US" sz="16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E3E0A62-DCE8-4FE8-94C1-C002B6CBA743}"/>
                </a:ext>
              </a:extLst>
            </p:cNvPr>
            <p:cNvSpPr/>
            <p:nvPr/>
          </p:nvSpPr>
          <p:spPr>
            <a:xfrm>
              <a:off x="3006350" y="2591408"/>
              <a:ext cx="376063" cy="309998"/>
            </a:xfrm>
            <a:custGeom>
              <a:avLst/>
              <a:gdLst>
                <a:gd name="connsiteX0" fmla="*/ 376063 w 376063"/>
                <a:gd name="connsiteY0" fmla="*/ 71147 h 309998"/>
                <a:gd name="connsiteX1" fmla="*/ 304916 w 376063"/>
                <a:gd name="connsiteY1" fmla="*/ 0 h 309998"/>
                <a:gd name="connsiteX2" fmla="*/ 137212 w 376063"/>
                <a:gd name="connsiteY2" fmla="*/ 167704 h 309998"/>
                <a:gd name="connsiteX3" fmla="*/ 71147 w 376063"/>
                <a:gd name="connsiteY3" fmla="*/ 101639 h 309998"/>
                <a:gd name="connsiteX4" fmla="*/ 0 w 376063"/>
                <a:gd name="connsiteY4" fmla="*/ 172786 h 309998"/>
                <a:gd name="connsiteX5" fmla="*/ 137212 w 376063"/>
                <a:gd name="connsiteY5" fmla="*/ 309998 h 309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6063" h="309998">
                  <a:moveTo>
                    <a:pt x="376063" y="71147"/>
                  </a:moveTo>
                  <a:lnTo>
                    <a:pt x="304916" y="0"/>
                  </a:lnTo>
                  <a:lnTo>
                    <a:pt x="137212" y="167704"/>
                  </a:lnTo>
                  <a:lnTo>
                    <a:pt x="71147" y="101639"/>
                  </a:lnTo>
                  <a:lnTo>
                    <a:pt x="0" y="172786"/>
                  </a:lnTo>
                  <a:lnTo>
                    <a:pt x="137212" y="309998"/>
                  </a:lnTo>
                  <a:close/>
                </a:path>
              </a:pathLst>
            </a:custGeom>
            <a:solidFill>
              <a:srgbClr val="000000"/>
            </a:solidFill>
            <a:ln w="2540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lang="en-US" sz="16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FCEF0F4-2876-43B9-8612-AA2FE43171EC}"/>
                </a:ext>
              </a:extLst>
            </p:cNvPr>
            <p:cNvGrpSpPr/>
            <p:nvPr/>
          </p:nvGrpSpPr>
          <p:grpSpPr>
            <a:xfrm>
              <a:off x="2642629" y="1928099"/>
              <a:ext cx="1933697" cy="1933697"/>
              <a:chOff x="1374358" y="4159955"/>
              <a:chExt cx="1721818" cy="1721818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50ACC2AA-6FE7-4B97-8E36-8F12BD2475B1}"/>
                  </a:ext>
                </a:extLst>
              </p:cNvPr>
              <p:cNvSpPr/>
              <p:nvPr/>
            </p:nvSpPr>
            <p:spPr>
              <a:xfrm>
                <a:off x="1606670" y="4381500"/>
                <a:ext cx="933450" cy="9334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endParaRPr lang="en-US" sz="1600" kern="0">
                  <a:solidFill>
                    <a:srgbClr val="FFFFFF"/>
                  </a:solidFill>
                  <a:latin typeface="Arial"/>
                  <a:sym typeface="Arial"/>
                </a:endParaRPr>
              </a:p>
            </p:txBody>
          </p:sp>
          <p:pic>
            <p:nvPicPr>
              <p:cNvPr id="16" name="Graphic 15" descr="Magnifying glass">
                <a:extLst>
                  <a:ext uri="{FF2B5EF4-FFF2-40B4-BE49-F238E27FC236}">
                    <a16:creationId xmlns:a16="http://schemas.microsoft.com/office/drawing/2014/main" id="{087FD6B2-395E-4C9C-9CFA-69496EA990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374358" y="4159955"/>
                <a:ext cx="1721818" cy="1721818"/>
              </a:xfrm>
              <a:prstGeom prst="rect">
                <a:avLst/>
              </a:prstGeom>
            </p:spPr>
          </p:pic>
          <p:pic>
            <p:nvPicPr>
              <p:cNvPr id="17" name="Graphic 16" descr="Checkmark">
                <a:extLst>
                  <a:ext uri="{FF2B5EF4-FFF2-40B4-BE49-F238E27FC236}">
                    <a16:creationId xmlns:a16="http://schemas.microsoft.com/office/drawing/2014/main" id="{CC44754D-7C25-4164-934F-B1CE4BB16C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707954" y="4239377"/>
                <a:ext cx="1009845" cy="1009845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55000"/>
                  </a:prstClr>
                </a:outerShdw>
              </a:effectLst>
            </p:spPr>
          </p:pic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3B780D3-44AC-4B1E-BEF2-7B072F73D701}"/>
              </a:ext>
            </a:extLst>
          </p:cNvPr>
          <p:cNvGrpSpPr/>
          <p:nvPr/>
        </p:nvGrpSpPr>
        <p:grpSpPr>
          <a:xfrm>
            <a:off x="4434600" y="1156632"/>
            <a:ext cx="7411401" cy="1790877"/>
            <a:chOff x="3453749" y="1837379"/>
            <a:chExt cx="5503069" cy="1274067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72F6764-0260-4D41-B503-81418BDBBE0A}"/>
                </a:ext>
              </a:extLst>
            </p:cNvPr>
            <p:cNvGrpSpPr/>
            <p:nvPr/>
          </p:nvGrpSpPr>
          <p:grpSpPr>
            <a:xfrm>
              <a:off x="3974824" y="1997309"/>
              <a:ext cx="2202816" cy="1106987"/>
              <a:chOff x="8921977" y="1529459"/>
              <a:chExt cx="2937088" cy="1475981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8F47BA48-DC01-4826-9B72-A6BBAD324F3D}"/>
                  </a:ext>
                </a:extLst>
              </p:cNvPr>
              <p:cNvSpPr txBox="1"/>
              <p:nvPr/>
            </p:nvSpPr>
            <p:spPr>
              <a:xfrm>
                <a:off x="8921977" y="1529459"/>
                <a:ext cx="2937088" cy="398930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pPr defTabSz="1219170">
                  <a:buClr>
                    <a:srgbClr val="000000"/>
                  </a:buClr>
                </a:pPr>
                <a:r>
                  <a:rPr lang="en-US" sz="2133" b="1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Mathematics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6BD9D0DE-8CD3-4212-8F62-872CB343C302}"/>
                  </a:ext>
                </a:extLst>
              </p:cNvPr>
              <p:cNvSpPr txBox="1"/>
              <p:nvPr/>
            </p:nvSpPr>
            <p:spPr>
              <a:xfrm>
                <a:off x="8929772" y="1798736"/>
                <a:ext cx="2929293" cy="1206704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228594" indent="-228594" defTabSz="1219170">
                  <a:spcAft>
                    <a:spcPts val="8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</a:pPr>
                <a:r>
                  <a:rPr lang="en-US" sz="1400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To understand the technicality behind the ML and DL models </a:t>
                </a:r>
              </a:p>
              <a:p>
                <a:pPr marL="228594" indent="-228594" defTabSz="1219170">
                  <a:spcAft>
                    <a:spcPts val="8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</a:pPr>
                <a:r>
                  <a:rPr lang="en-US" sz="1400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Topics like – Linear Algebra, Calculus, Set theory, discrete theory</a:t>
                </a: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D40B64B1-0A2A-4D60-A872-831EAF78E9A4}"/>
                </a:ext>
              </a:extLst>
            </p:cNvPr>
            <p:cNvGrpSpPr/>
            <p:nvPr/>
          </p:nvGrpSpPr>
          <p:grpSpPr>
            <a:xfrm>
              <a:off x="3453749" y="1837379"/>
              <a:ext cx="518152" cy="491423"/>
              <a:chOff x="4604998" y="1306838"/>
              <a:chExt cx="690869" cy="655231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FBDC6B14-CBC0-4135-B046-3351BBA0AFEF}"/>
                  </a:ext>
                </a:extLst>
              </p:cNvPr>
              <p:cNvSpPr/>
              <p:nvPr/>
            </p:nvSpPr>
            <p:spPr>
              <a:xfrm>
                <a:off x="4604998" y="1404692"/>
                <a:ext cx="557377" cy="557377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endParaRPr lang="en-US" sz="1400" kern="0">
                  <a:solidFill>
                    <a:srgbClr val="FFFFFF"/>
                  </a:solidFill>
                  <a:latin typeface="Arial"/>
                  <a:sym typeface="Arial"/>
                </a:endParaRPr>
              </a:p>
            </p:txBody>
          </p:sp>
          <p:pic>
            <p:nvPicPr>
              <p:cNvPr id="28" name="Graphic 27" descr="Checkmark">
                <a:extLst>
                  <a:ext uri="{FF2B5EF4-FFF2-40B4-BE49-F238E27FC236}">
                    <a16:creationId xmlns:a16="http://schemas.microsoft.com/office/drawing/2014/main" id="{1DE0A77A-52FB-4B44-B33E-D72872C32E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668672" y="1306838"/>
                <a:ext cx="627195" cy="627195"/>
              </a:xfrm>
              <a:prstGeom prst="rect">
                <a:avLst/>
              </a:prstGeom>
            </p:spPr>
          </p:pic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918E931E-B444-462D-853E-10503A80CFBA}"/>
                </a:ext>
              </a:extLst>
            </p:cNvPr>
            <p:cNvGrpSpPr/>
            <p:nvPr/>
          </p:nvGrpSpPr>
          <p:grpSpPr>
            <a:xfrm>
              <a:off x="6754002" y="1997305"/>
              <a:ext cx="2202816" cy="1114141"/>
              <a:chOff x="8921977" y="1529457"/>
              <a:chExt cx="2937088" cy="1485525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83C47C57-0671-48CD-A249-0A66AF5AFA77}"/>
                  </a:ext>
                </a:extLst>
              </p:cNvPr>
              <p:cNvSpPr txBox="1"/>
              <p:nvPr/>
            </p:nvSpPr>
            <p:spPr>
              <a:xfrm>
                <a:off x="8921977" y="1529457"/>
                <a:ext cx="2937088" cy="398932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pPr defTabSz="1219170">
                  <a:buClr>
                    <a:srgbClr val="000000"/>
                  </a:buClr>
                </a:pPr>
                <a:r>
                  <a:rPr lang="en-US" sz="2133" b="1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Statistics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243B3693-F427-49EA-B0E5-61EA4E1198FD}"/>
                  </a:ext>
                </a:extLst>
              </p:cNvPr>
              <p:cNvSpPr txBox="1"/>
              <p:nvPr/>
            </p:nvSpPr>
            <p:spPr>
              <a:xfrm>
                <a:off x="8929772" y="1808274"/>
                <a:ext cx="2929293" cy="1206708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228594" indent="-228594" defTabSz="1219170">
                  <a:spcAft>
                    <a:spcPts val="8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</a:pPr>
                <a:r>
                  <a:rPr lang="en-US" sz="1400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To understand the basis of Data Science and helps in interpretation</a:t>
                </a:r>
              </a:p>
              <a:p>
                <a:pPr marL="228594" indent="-228594" defTabSz="1219170">
                  <a:spcAft>
                    <a:spcPts val="8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</a:pPr>
                <a:r>
                  <a:rPr lang="en-US" sz="1400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Topics like – Probability Theory, Basic Statistics, Hypothesis Testing etc. 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31A21484-84F9-45C6-A429-A4A755644225}"/>
                </a:ext>
              </a:extLst>
            </p:cNvPr>
            <p:cNvGrpSpPr/>
            <p:nvPr/>
          </p:nvGrpSpPr>
          <p:grpSpPr>
            <a:xfrm>
              <a:off x="6232927" y="1837379"/>
              <a:ext cx="518152" cy="491423"/>
              <a:chOff x="4604998" y="1306838"/>
              <a:chExt cx="690869" cy="655231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D602A387-067C-4C81-925E-1464E07D8333}"/>
                  </a:ext>
                </a:extLst>
              </p:cNvPr>
              <p:cNvSpPr/>
              <p:nvPr/>
            </p:nvSpPr>
            <p:spPr>
              <a:xfrm>
                <a:off x="4604998" y="1404692"/>
                <a:ext cx="557377" cy="557377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endParaRPr lang="en-US" sz="1400" kern="0">
                  <a:solidFill>
                    <a:srgbClr val="FFFFFF"/>
                  </a:solidFill>
                  <a:latin typeface="Arial"/>
                  <a:sym typeface="Arial"/>
                </a:endParaRPr>
              </a:p>
            </p:txBody>
          </p:sp>
          <p:pic>
            <p:nvPicPr>
              <p:cNvPr id="24" name="Graphic 23" descr="Checkmark">
                <a:extLst>
                  <a:ext uri="{FF2B5EF4-FFF2-40B4-BE49-F238E27FC236}">
                    <a16:creationId xmlns:a16="http://schemas.microsoft.com/office/drawing/2014/main" id="{72335C70-9A1E-4BEC-8D98-B03361838D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668672" y="1306838"/>
                <a:ext cx="627195" cy="627195"/>
              </a:xfrm>
              <a:prstGeom prst="rect">
                <a:avLst/>
              </a:prstGeom>
            </p:spPr>
          </p:pic>
        </p:grp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8FCB888-9586-4B59-BCC2-D29D81361D23}"/>
              </a:ext>
            </a:extLst>
          </p:cNvPr>
          <p:cNvGrpSpPr/>
          <p:nvPr/>
        </p:nvGrpSpPr>
        <p:grpSpPr>
          <a:xfrm>
            <a:off x="4434600" y="3018106"/>
            <a:ext cx="7411401" cy="1624551"/>
            <a:chOff x="3453749" y="1837379"/>
            <a:chExt cx="5503069" cy="1155741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C8B76A9-3E8A-45CE-94CA-B1A372B3036D}"/>
                </a:ext>
              </a:extLst>
            </p:cNvPr>
            <p:cNvGrpSpPr/>
            <p:nvPr/>
          </p:nvGrpSpPr>
          <p:grpSpPr>
            <a:xfrm>
              <a:off x="3974824" y="1997306"/>
              <a:ext cx="2202816" cy="995814"/>
              <a:chOff x="8921977" y="1529458"/>
              <a:chExt cx="2937088" cy="1327752"/>
            </a:xfrm>
          </p:grpSpPr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20E3425-51D5-4428-9CA6-E4DC6A76EAEC}"/>
                  </a:ext>
                </a:extLst>
              </p:cNvPr>
              <p:cNvSpPr txBox="1"/>
              <p:nvPr/>
            </p:nvSpPr>
            <p:spPr>
              <a:xfrm>
                <a:off x="8921977" y="1529458"/>
                <a:ext cx="2937088" cy="398931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pPr defTabSz="1219170">
                  <a:buClr>
                    <a:srgbClr val="000000"/>
                  </a:buClr>
                </a:pPr>
                <a:r>
                  <a:rPr lang="en-US" sz="2133" b="1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Programming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5E35BB00-28C9-41E0-A420-3EB9F8E1AB38}"/>
                  </a:ext>
                </a:extLst>
              </p:cNvPr>
              <p:cNvSpPr txBox="1"/>
              <p:nvPr/>
            </p:nvSpPr>
            <p:spPr>
              <a:xfrm>
                <a:off x="8929772" y="1854864"/>
                <a:ext cx="2929293" cy="1002346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228594" indent="-228594" defTabSz="1219170">
                  <a:spcAft>
                    <a:spcPts val="8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</a:pPr>
                <a:r>
                  <a:rPr lang="en-US" sz="1400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To code behind the data and ML models</a:t>
                </a:r>
              </a:p>
              <a:p>
                <a:pPr marL="228594" indent="-228594" defTabSz="1219170">
                  <a:spcAft>
                    <a:spcPts val="8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</a:pPr>
                <a:r>
                  <a:rPr lang="en-US" sz="1400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Tools like – Python/R/SAS, SQL, Tableau, Power BI</a:t>
                </a: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85123C04-114C-4977-A958-0947E9D7A87F}"/>
                </a:ext>
              </a:extLst>
            </p:cNvPr>
            <p:cNvGrpSpPr/>
            <p:nvPr/>
          </p:nvGrpSpPr>
          <p:grpSpPr>
            <a:xfrm>
              <a:off x="3453749" y="1837379"/>
              <a:ext cx="518152" cy="491423"/>
              <a:chOff x="4604998" y="1306838"/>
              <a:chExt cx="690869" cy="655231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FC3720B6-D742-4980-80D5-5F7AD8FB8C41}"/>
                  </a:ext>
                </a:extLst>
              </p:cNvPr>
              <p:cNvSpPr/>
              <p:nvPr/>
            </p:nvSpPr>
            <p:spPr>
              <a:xfrm>
                <a:off x="4604998" y="1404692"/>
                <a:ext cx="557377" cy="557377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endParaRPr lang="en-US" sz="1400" kern="0">
                  <a:solidFill>
                    <a:srgbClr val="FFFFFF"/>
                  </a:solidFill>
                  <a:latin typeface="Arial"/>
                  <a:sym typeface="Arial"/>
                </a:endParaRPr>
              </a:p>
            </p:txBody>
          </p:sp>
          <p:pic>
            <p:nvPicPr>
              <p:cNvPr id="54" name="Graphic 53" descr="Checkmark">
                <a:extLst>
                  <a:ext uri="{FF2B5EF4-FFF2-40B4-BE49-F238E27FC236}">
                    <a16:creationId xmlns:a16="http://schemas.microsoft.com/office/drawing/2014/main" id="{21E3358E-3186-4514-A25E-8498EF2F3D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668672" y="1306838"/>
                <a:ext cx="627195" cy="627195"/>
              </a:xfrm>
              <a:prstGeom prst="rect">
                <a:avLst/>
              </a:prstGeom>
            </p:spPr>
          </p:pic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9FEB89C0-3EBE-47EA-9C47-9D7FC9A4B2C9}"/>
                </a:ext>
              </a:extLst>
            </p:cNvPr>
            <p:cNvGrpSpPr/>
            <p:nvPr/>
          </p:nvGrpSpPr>
          <p:grpSpPr>
            <a:xfrm>
              <a:off x="6754002" y="1997306"/>
              <a:ext cx="2202816" cy="982924"/>
              <a:chOff x="8921977" y="1529458"/>
              <a:chExt cx="2937088" cy="1310569"/>
            </a:xfrm>
          </p:grpSpPr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19DDD0C5-1557-4A89-9222-FE088B4B2ADE}"/>
                  </a:ext>
                </a:extLst>
              </p:cNvPr>
              <p:cNvSpPr txBox="1"/>
              <p:nvPr/>
            </p:nvSpPr>
            <p:spPr>
              <a:xfrm>
                <a:off x="8921977" y="1529458"/>
                <a:ext cx="2937088" cy="398932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pPr defTabSz="1219170">
                  <a:buClr>
                    <a:srgbClr val="000000"/>
                  </a:buClr>
                </a:pPr>
                <a:r>
                  <a:rPr lang="en-US" sz="2133" b="1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Analytical Thinking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5C2BCBBA-890D-4F35-9E78-3497A2EC03CD}"/>
                  </a:ext>
                </a:extLst>
              </p:cNvPr>
              <p:cNvSpPr txBox="1"/>
              <p:nvPr/>
            </p:nvSpPr>
            <p:spPr>
              <a:xfrm>
                <a:off x="8929772" y="1837678"/>
                <a:ext cx="2929293" cy="1002349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228594" indent="-228594" defTabSz="1219170">
                  <a:spcAft>
                    <a:spcPts val="8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</a:pPr>
                <a:r>
                  <a:rPr lang="en-US" sz="1400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Problem solving approach</a:t>
                </a:r>
              </a:p>
              <a:p>
                <a:pPr marL="228594" indent="-228594" defTabSz="1219170">
                  <a:spcAft>
                    <a:spcPts val="8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</a:pPr>
                <a:r>
                  <a:rPr lang="en-US" sz="1400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Creating/Analytical thinking to formulate solution of the business probelm</a:t>
                </a: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C46AB674-76E3-48C6-B9C1-442529409167}"/>
                </a:ext>
              </a:extLst>
            </p:cNvPr>
            <p:cNvGrpSpPr/>
            <p:nvPr/>
          </p:nvGrpSpPr>
          <p:grpSpPr>
            <a:xfrm>
              <a:off x="6232927" y="1837379"/>
              <a:ext cx="518152" cy="491423"/>
              <a:chOff x="4604998" y="1306838"/>
              <a:chExt cx="690869" cy="655231"/>
            </a:xfrm>
          </p:grpSpPr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B4846CD2-9F99-47C7-9853-730B9BD3D94D}"/>
                  </a:ext>
                </a:extLst>
              </p:cNvPr>
              <p:cNvSpPr/>
              <p:nvPr/>
            </p:nvSpPr>
            <p:spPr>
              <a:xfrm>
                <a:off x="4604998" y="1404692"/>
                <a:ext cx="557377" cy="557377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endParaRPr lang="en-US" sz="1400" kern="0">
                  <a:solidFill>
                    <a:srgbClr val="FFFFFF"/>
                  </a:solidFill>
                  <a:latin typeface="Arial"/>
                  <a:sym typeface="Arial"/>
                </a:endParaRPr>
              </a:p>
            </p:txBody>
          </p:sp>
          <p:pic>
            <p:nvPicPr>
              <p:cNvPr id="50" name="Graphic 49" descr="Checkmark">
                <a:extLst>
                  <a:ext uri="{FF2B5EF4-FFF2-40B4-BE49-F238E27FC236}">
                    <a16:creationId xmlns:a16="http://schemas.microsoft.com/office/drawing/2014/main" id="{48061AE0-E7D4-4B65-A1D7-136DC47A91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668672" y="1306838"/>
                <a:ext cx="627195" cy="627195"/>
              </a:xfrm>
              <a:prstGeom prst="rect">
                <a:avLst/>
              </a:prstGeom>
            </p:spPr>
          </p:pic>
        </p:grpSp>
      </p:grpSp>
      <p:sp>
        <p:nvSpPr>
          <p:cNvPr id="58" name="Google Shape;292;p15">
            <a:extLst>
              <a:ext uri="{FF2B5EF4-FFF2-40B4-BE49-F238E27FC236}">
                <a16:creationId xmlns:a16="http://schemas.microsoft.com/office/drawing/2014/main" id="{236FDDBC-5141-4088-B63D-A15318770F0E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18800" y="692346"/>
            <a:ext cx="11846000" cy="5564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lnSpcReduction="10000"/>
          </a:bodyPr>
          <a:lstStyle/>
          <a:p>
            <a:pPr marL="0" indent="0"/>
            <a:r>
              <a:rPr lang="en" dirty="0"/>
              <a:t>Key skills required to learn Data Science</a:t>
            </a:r>
            <a:endParaRPr dirty="0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BC7CCBC-0BAA-41EA-B653-C9CC3FD257A6}"/>
              </a:ext>
            </a:extLst>
          </p:cNvPr>
          <p:cNvGrpSpPr/>
          <p:nvPr/>
        </p:nvGrpSpPr>
        <p:grpSpPr>
          <a:xfrm>
            <a:off x="4434600" y="4619867"/>
            <a:ext cx="7411401" cy="1807141"/>
            <a:chOff x="3453749" y="1837379"/>
            <a:chExt cx="5503069" cy="1285636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2ACE9FF-4ABC-4949-B47C-C06767F6654B}"/>
                </a:ext>
              </a:extLst>
            </p:cNvPr>
            <p:cNvGrpSpPr/>
            <p:nvPr/>
          </p:nvGrpSpPr>
          <p:grpSpPr>
            <a:xfrm>
              <a:off x="3974824" y="1997309"/>
              <a:ext cx="2297090" cy="1125706"/>
              <a:chOff x="8921978" y="1529460"/>
              <a:chExt cx="3062787" cy="1500940"/>
            </a:xfrm>
          </p:grpSpPr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5D52613D-7703-46F5-A64B-CFF11E1C23DC}"/>
                  </a:ext>
                </a:extLst>
              </p:cNvPr>
              <p:cNvSpPr txBox="1"/>
              <p:nvPr/>
            </p:nvSpPr>
            <p:spPr>
              <a:xfrm>
                <a:off x="8921978" y="1529460"/>
                <a:ext cx="3062787" cy="398930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pPr defTabSz="1219170">
                  <a:buClr>
                    <a:srgbClr val="000000"/>
                  </a:buClr>
                </a:pPr>
                <a:r>
                  <a:rPr lang="en-US" sz="2133" b="1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Education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D2C3144E-51BF-406E-825B-0E8A6E86035F}"/>
                  </a:ext>
                </a:extLst>
              </p:cNvPr>
              <p:cNvSpPr txBox="1"/>
              <p:nvPr/>
            </p:nvSpPr>
            <p:spPr>
              <a:xfrm>
                <a:off x="8930897" y="1823697"/>
                <a:ext cx="2929293" cy="1206703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228594" indent="-228594" defTabSz="1219170">
                  <a:spcAft>
                    <a:spcPts val="8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</a:pPr>
                <a:r>
                  <a:rPr lang="en-US" sz="1400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Undergraduation – Engineering, Economics, Statistics, maths are more prevalent </a:t>
                </a:r>
              </a:p>
              <a:p>
                <a:pPr marL="228594" indent="-228594" defTabSz="1219170">
                  <a:spcAft>
                    <a:spcPts val="8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</a:pPr>
                <a:r>
                  <a:rPr lang="en-US" sz="1400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For others + Data Science professional certificate/diploma</a:t>
                </a:r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848AA21E-FF06-4F35-9510-ACB552EA43DA}"/>
                </a:ext>
              </a:extLst>
            </p:cNvPr>
            <p:cNvGrpSpPr/>
            <p:nvPr/>
          </p:nvGrpSpPr>
          <p:grpSpPr>
            <a:xfrm>
              <a:off x="3453749" y="1837379"/>
              <a:ext cx="518152" cy="491423"/>
              <a:chOff x="4604998" y="1306838"/>
              <a:chExt cx="690869" cy="655231"/>
            </a:xfrm>
          </p:grpSpPr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878AAD68-8AAE-4780-A321-15E6FC5D8AF6}"/>
                  </a:ext>
                </a:extLst>
              </p:cNvPr>
              <p:cNvSpPr/>
              <p:nvPr/>
            </p:nvSpPr>
            <p:spPr>
              <a:xfrm>
                <a:off x="4604998" y="1404692"/>
                <a:ext cx="557377" cy="557377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endParaRPr lang="en-US" sz="1400" kern="0">
                  <a:solidFill>
                    <a:srgbClr val="FFFFFF"/>
                  </a:solidFill>
                  <a:latin typeface="Arial"/>
                  <a:sym typeface="Arial"/>
                </a:endParaRPr>
              </a:p>
            </p:txBody>
          </p:sp>
          <p:pic>
            <p:nvPicPr>
              <p:cNvPr id="69" name="Graphic 68" descr="Checkmark">
                <a:extLst>
                  <a:ext uri="{FF2B5EF4-FFF2-40B4-BE49-F238E27FC236}">
                    <a16:creationId xmlns:a16="http://schemas.microsoft.com/office/drawing/2014/main" id="{EE44339B-3287-4F3C-89F9-BF95FC52BD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668672" y="1306838"/>
                <a:ext cx="627195" cy="627195"/>
              </a:xfrm>
              <a:prstGeom prst="rect">
                <a:avLst/>
              </a:prstGeom>
            </p:spPr>
          </p:pic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E74BDBFD-0E95-4F22-A078-92C987712586}"/>
                </a:ext>
              </a:extLst>
            </p:cNvPr>
            <p:cNvGrpSpPr/>
            <p:nvPr/>
          </p:nvGrpSpPr>
          <p:grpSpPr>
            <a:xfrm>
              <a:off x="6754002" y="1997307"/>
              <a:ext cx="2202816" cy="1077958"/>
              <a:chOff x="8921977" y="1529459"/>
              <a:chExt cx="2937088" cy="1437282"/>
            </a:xfrm>
          </p:grpSpPr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F59D43F9-6327-4C0F-816E-E0BED70C8270}"/>
                  </a:ext>
                </a:extLst>
              </p:cNvPr>
              <p:cNvSpPr txBox="1"/>
              <p:nvPr/>
            </p:nvSpPr>
            <p:spPr>
              <a:xfrm>
                <a:off x="8921977" y="1529459"/>
                <a:ext cx="2937088" cy="398931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pPr defTabSz="1219170">
                  <a:buClr>
                    <a:srgbClr val="000000"/>
                  </a:buClr>
                </a:pPr>
                <a:r>
                  <a:rPr lang="en-US" sz="2133" b="1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Higher Education</a:t>
                </a:r>
                <a:r>
                  <a:rPr lang="en-US" sz="1467" b="1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**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6895727D-D2BA-491D-9773-DDE217163487}"/>
                  </a:ext>
                </a:extLst>
              </p:cNvPr>
              <p:cNvSpPr txBox="1"/>
              <p:nvPr/>
            </p:nvSpPr>
            <p:spPr>
              <a:xfrm>
                <a:off x="8929772" y="1867080"/>
                <a:ext cx="2929293" cy="1099661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228594" indent="-228594" defTabSz="1219170">
                  <a:spcAft>
                    <a:spcPts val="8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</a:pPr>
                <a:r>
                  <a:rPr lang="en-US" sz="1400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Doing Masters in Data Science or Compue vision</a:t>
                </a:r>
              </a:p>
              <a:p>
                <a:pPr marL="228594" indent="-228594" defTabSz="1219170">
                  <a:spcAft>
                    <a:spcPts val="800"/>
                  </a:spcAft>
                  <a:buClr>
                    <a:srgbClr val="000000"/>
                  </a:buClr>
                  <a:buFont typeface="Arial" panose="020B0604020202020204" pitchFamily="34" charset="0"/>
                  <a:buChar char="•"/>
                </a:pPr>
                <a:r>
                  <a:rPr lang="en-US" sz="1400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Post getting the experience </a:t>
                </a:r>
              </a:p>
              <a:p>
                <a:pPr defTabSz="1219170">
                  <a:spcAft>
                    <a:spcPts val="800"/>
                  </a:spcAft>
                  <a:buClr>
                    <a:srgbClr val="000000"/>
                  </a:buClr>
                </a:pPr>
                <a:r>
                  <a:rPr lang="en-US" sz="1400" kern="0" noProof="1">
                    <a:solidFill>
                      <a:srgbClr val="FFFFFF"/>
                    </a:solidFill>
                    <a:latin typeface="Nunito"/>
                    <a:cs typeface="Arial"/>
                    <a:sym typeface="Arial"/>
                  </a:rPr>
                  <a:t>** Optional but beneficial</a:t>
                </a:r>
              </a:p>
            </p:txBody>
          </p: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B284BFD4-AE93-4D53-B5D2-82E4E6A64F78}"/>
                </a:ext>
              </a:extLst>
            </p:cNvPr>
            <p:cNvGrpSpPr/>
            <p:nvPr/>
          </p:nvGrpSpPr>
          <p:grpSpPr>
            <a:xfrm>
              <a:off x="6232927" y="1837379"/>
              <a:ext cx="518152" cy="491423"/>
              <a:chOff x="4604998" y="1306838"/>
              <a:chExt cx="690869" cy="655231"/>
            </a:xfrm>
          </p:grpSpPr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9D68DD81-FDF1-4782-B470-9936AE950C21}"/>
                  </a:ext>
                </a:extLst>
              </p:cNvPr>
              <p:cNvSpPr/>
              <p:nvPr/>
            </p:nvSpPr>
            <p:spPr>
              <a:xfrm>
                <a:off x="4604998" y="1404692"/>
                <a:ext cx="557377" cy="557377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endParaRPr lang="en-US" sz="1400" kern="0">
                  <a:solidFill>
                    <a:srgbClr val="FFFFFF"/>
                  </a:solidFill>
                  <a:latin typeface="Arial"/>
                  <a:sym typeface="Arial"/>
                </a:endParaRPr>
              </a:p>
            </p:txBody>
          </p:sp>
          <p:pic>
            <p:nvPicPr>
              <p:cNvPr id="65" name="Graphic 64" descr="Checkmark">
                <a:extLst>
                  <a:ext uri="{FF2B5EF4-FFF2-40B4-BE49-F238E27FC236}">
                    <a16:creationId xmlns:a16="http://schemas.microsoft.com/office/drawing/2014/main" id="{76C8DB57-4CBC-46A1-97A5-5FBEE886A6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668672" y="1306838"/>
                <a:ext cx="627195" cy="627195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0908484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p15"/>
          <p:cNvSpPr txBox="1"/>
          <p:nvPr/>
        </p:nvSpPr>
        <p:spPr>
          <a:xfrm>
            <a:off x="8794967" y="3637519"/>
            <a:ext cx="3682800" cy="27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The role of ML Engineer is -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marL="609585" indent="-414856" defTabSz="1219170">
              <a:spcBef>
                <a:spcPts val="7"/>
              </a:spcBef>
              <a:buClr>
                <a:srgbClr val="FFFFFF"/>
              </a:buClr>
              <a:buSzPts val="1300"/>
              <a:buFont typeface="Nunito"/>
              <a:buAutoNum type="arabicPeriod"/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Data Management Tools - DBMS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marL="609585" indent="-414856" defTabSz="1219170">
              <a:spcBef>
                <a:spcPts val="7"/>
              </a:spcBef>
              <a:buClr>
                <a:srgbClr val="FFFFFF"/>
              </a:buClr>
              <a:buSzPts val="1300"/>
              <a:buFont typeface="Nunito"/>
              <a:buAutoNum type="arabicPeriod"/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Data Pipelines/Cubes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marL="609585" indent="-414856" defTabSz="1219170">
              <a:spcBef>
                <a:spcPts val="7"/>
              </a:spcBef>
              <a:buClr>
                <a:srgbClr val="FFFFFF"/>
              </a:buClr>
              <a:buSzPts val="1300"/>
              <a:buFont typeface="Nunito"/>
              <a:buAutoNum type="arabicPeriod"/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ML Deployment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Skills required -  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Programming - Python/SQL/R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ML Models (not in the all the case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spcAft>
                <a:spcPts val="7"/>
              </a:spcAft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Cloud - Being utilized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sp>
        <p:nvSpPr>
          <p:cNvPr id="292" name="Google Shape;292;p15"/>
          <p:cNvSpPr txBox="1">
            <a:spLocks noGrp="1"/>
          </p:cNvSpPr>
          <p:nvPr>
            <p:ph type="subTitle" idx="1"/>
          </p:nvPr>
        </p:nvSpPr>
        <p:spPr>
          <a:xfrm>
            <a:off x="134777" y="601279"/>
            <a:ext cx="11846000" cy="5564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lnSpcReduction="10000"/>
          </a:bodyPr>
          <a:lstStyle/>
          <a:p>
            <a:pPr marL="0" indent="0"/>
            <a:r>
              <a:rPr lang="en" dirty="0"/>
              <a:t>Roles available in the market</a:t>
            </a:r>
            <a:endParaRPr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95459D5-0ADC-45AC-B0DC-78FD9C5F1B3F}"/>
              </a:ext>
            </a:extLst>
          </p:cNvPr>
          <p:cNvGrpSpPr/>
          <p:nvPr/>
        </p:nvGrpSpPr>
        <p:grpSpPr>
          <a:xfrm>
            <a:off x="4422020" y="1386067"/>
            <a:ext cx="3097600" cy="3001200"/>
            <a:chOff x="3316515" y="1039550"/>
            <a:chExt cx="2323200" cy="2250900"/>
          </a:xfrm>
        </p:grpSpPr>
        <p:sp>
          <p:nvSpPr>
            <p:cNvPr id="293" name="Google Shape;293;p15"/>
            <p:cNvSpPr/>
            <p:nvPr/>
          </p:nvSpPr>
          <p:spPr>
            <a:xfrm>
              <a:off x="3316515" y="1039550"/>
              <a:ext cx="2323200" cy="2250900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96" name="Google Shape;296;p15"/>
            <p:cNvSpPr txBox="1"/>
            <p:nvPr/>
          </p:nvSpPr>
          <p:spPr>
            <a:xfrm>
              <a:off x="3888116" y="1701973"/>
              <a:ext cx="1392000" cy="3693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/>
            <a:p>
              <a:pPr algn="ctr" defTabSz="1219170">
                <a:buClr>
                  <a:srgbClr val="000000"/>
                </a:buClr>
              </a:pPr>
              <a:r>
                <a:rPr lang="en" sz="1600" b="1" kern="0" dirty="0">
                  <a:solidFill>
                    <a:srgbClr val="FFFFFF"/>
                  </a:solidFill>
                  <a:latin typeface="Nunito"/>
                  <a:ea typeface="Nunito"/>
                  <a:cs typeface="Nunito"/>
                  <a:sym typeface="Nunito"/>
                </a:rPr>
                <a:t>Data Scientist</a:t>
              </a:r>
              <a:endParaRPr sz="1600" b="1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6709B7F-88C8-48D8-90C6-532ECD27A88C}"/>
              </a:ext>
            </a:extLst>
          </p:cNvPr>
          <p:cNvGrpSpPr/>
          <p:nvPr/>
        </p:nvGrpSpPr>
        <p:grpSpPr>
          <a:xfrm>
            <a:off x="5335989" y="3002900"/>
            <a:ext cx="3353691" cy="3001200"/>
            <a:chOff x="4133725" y="2252175"/>
            <a:chExt cx="2515268" cy="2250900"/>
          </a:xfrm>
        </p:grpSpPr>
        <p:sp>
          <p:nvSpPr>
            <p:cNvPr id="294" name="Google Shape;294;p15"/>
            <p:cNvSpPr/>
            <p:nvPr/>
          </p:nvSpPr>
          <p:spPr>
            <a:xfrm>
              <a:off x="4133725" y="2252175"/>
              <a:ext cx="2323200" cy="2250900"/>
            </a:xfrm>
            <a:prstGeom prst="ellipse">
              <a:avLst/>
            </a:prstGeom>
            <a:solidFill>
              <a:srgbClr val="FF33CC"/>
            </a:solidFill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97" name="Google Shape;297;p15"/>
            <p:cNvSpPr txBox="1"/>
            <p:nvPr/>
          </p:nvSpPr>
          <p:spPr>
            <a:xfrm>
              <a:off x="5095850" y="3011549"/>
              <a:ext cx="1553143" cy="7386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/>
            <a:p>
              <a:pPr defTabSz="1219170">
                <a:buClr>
                  <a:srgbClr val="000000"/>
                </a:buClr>
              </a:pPr>
              <a:r>
                <a:rPr lang="en" sz="1600" b="1" kern="0" dirty="0">
                  <a:solidFill>
                    <a:srgbClr val="000000"/>
                  </a:solidFill>
                  <a:latin typeface="Nunito"/>
                  <a:ea typeface="Nunito"/>
                  <a:cs typeface="Nunito"/>
                  <a:sym typeface="Nunito"/>
                </a:rPr>
                <a:t>ML Engineer</a:t>
              </a:r>
            </a:p>
            <a:p>
              <a:pPr defTabSz="1219170">
                <a:buClr>
                  <a:srgbClr val="000000"/>
                </a:buClr>
              </a:pPr>
              <a:r>
                <a:rPr lang="en" sz="1600" b="1" kern="0" dirty="0">
                  <a:solidFill>
                    <a:srgbClr val="000000"/>
                  </a:solidFill>
                  <a:latin typeface="Nunito"/>
                  <a:ea typeface="Nunito"/>
                  <a:cs typeface="Nunito"/>
                  <a:sym typeface="Nunito"/>
                </a:rPr>
                <a:t>        OR</a:t>
              </a:r>
            </a:p>
            <a:p>
              <a:pPr defTabSz="1219170">
                <a:buClr>
                  <a:srgbClr val="000000"/>
                </a:buClr>
              </a:pPr>
              <a:r>
                <a:rPr lang="en" sz="1600" b="1" kern="0" dirty="0">
                  <a:solidFill>
                    <a:srgbClr val="000000"/>
                  </a:solidFill>
                  <a:latin typeface="Nunito"/>
                  <a:ea typeface="Nunito"/>
                  <a:cs typeface="Nunito"/>
                  <a:sym typeface="Nunito"/>
                </a:rPr>
                <a:t>Data Engineer</a:t>
              </a:r>
              <a:endParaRPr sz="1600" b="1" kern="0" dirty="0">
                <a:solidFill>
                  <a:srgbClr val="000000"/>
                </a:solidFill>
                <a:latin typeface="Nunito"/>
                <a:ea typeface="Nunito"/>
                <a:cs typeface="Nunito"/>
                <a:sym typeface="Nunito"/>
              </a:endParaRPr>
            </a:p>
          </p:txBody>
        </p:sp>
      </p:grpSp>
      <p:cxnSp>
        <p:nvCxnSpPr>
          <p:cNvPr id="299" name="Google Shape;299;p15"/>
          <p:cNvCxnSpPr>
            <a:cxnSpLocks/>
          </p:cNvCxnSpPr>
          <p:nvPr/>
        </p:nvCxnSpPr>
        <p:spPr>
          <a:xfrm flipV="1">
            <a:off x="6884790" y="1868034"/>
            <a:ext cx="1588377" cy="647557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oval" w="med" len="me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01" name="Google Shape;301;p15"/>
          <p:cNvSpPr txBox="1"/>
          <p:nvPr/>
        </p:nvSpPr>
        <p:spPr>
          <a:xfrm>
            <a:off x="8242267" y="475282"/>
            <a:ext cx="3949600" cy="35743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The role of Data Scientist is to build - 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marL="609585" indent="-414856" defTabSz="1219170">
              <a:spcBef>
                <a:spcPts val="7"/>
              </a:spcBef>
              <a:buClr>
                <a:srgbClr val="FFFFFF"/>
              </a:buClr>
              <a:buSzPts val="1300"/>
              <a:buFont typeface="Nunito"/>
              <a:buAutoNum type="arabicPeriod"/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Data Mining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marL="609585" indent="-414856" defTabSz="1219170">
              <a:spcBef>
                <a:spcPts val="7"/>
              </a:spcBef>
              <a:buClr>
                <a:srgbClr val="FFFFFF"/>
              </a:buClr>
              <a:buSzPts val="1300"/>
              <a:buFont typeface="Nunito"/>
              <a:buAutoNum type="arabicPeriod"/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Predictive Modeling &amp; Insights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marL="609585" indent="-414856" defTabSz="1219170">
              <a:spcBef>
                <a:spcPts val="7"/>
              </a:spcBef>
              <a:buClr>
                <a:srgbClr val="FFFFFF"/>
              </a:buClr>
              <a:buSzPts val="1300"/>
              <a:buFont typeface="Nunito"/>
              <a:buAutoNum type="arabicPeriod"/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Data Driven solutions towards business goals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Skills required -  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Programming - Python/SQL/R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Traditional Models/ML/DL(in few cases)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spcAft>
                <a:spcPts val="7"/>
              </a:spcAft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Cloud - Started gaining traction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sp>
        <p:nvSpPr>
          <p:cNvPr id="302" name="Google Shape;302;p15"/>
          <p:cNvSpPr txBox="1"/>
          <p:nvPr/>
        </p:nvSpPr>
        <p:spPr>
          <a:xfrm>
            <a:off x="174840" y="1255759"/>
            <a:ext cx="3682800" cy="27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The role of BA/DS  is -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marL="609585" indent="-414856" defTabSz="1219170">
              <a:spcBef>
                <a:spcPts val="7"/>
              </a:spcBef>
              <a:buClr>
                <a:srgbClr val="FFFFFF"/>
              </a:buClr>
              <a:buSzPts val="1300"/>
              <a:buFont typeface="Nunito"/>
              <a:buAutoNum type="arabicPeriod"/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Data driven business solutions/framework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marL="609585" indent="-414856" defTabSz="1219170">
              <a:spcBef>
                <a:spcPts val="7"/>
              </a:spcBef>
              <a:buClr>
                <a:srgbClr val="FFFFFF"/>
              </a:buClr>
              <a:buSzPts val="1300"/>
              <a:buFont typeface="Nunito"/>
              <a:buAutoNum type="arabicPeriod"/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Data Insights 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marL="609585" indent="-414856" defTabSz="1219170">
              <a:spcBef>
                <a:spcPts val="7"/>
              </a:spcBef>
              <a:buClr>
                <a:srgbClr val="FFFFFF"/>
              </a:buClr>
              <a:buSzPts val="1300"/>
              <a:buFont typeface="Nunito"/>
              <a:buAutoNum type="arabicPeriod"/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Consulting skills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Skills required -  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Programming - SQL/Python/R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spcAft>
                <a:spcPts val="7"/>
              </a:spcAft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ML Models (not in the all the cases)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sp>
        <p:nvSpPr>
          <p:cNvPr id="16" name="Google Shape;283;p14">
            <a:extLst>
              <a:ext uri="{FF2B5EF4-FFF2-40B4-BE49-F238E27FC236}">
                <a16:creationId xmlns:a16="http://schemas.microsoft.com/office/drawing/2014/main" id="{510FD048-4D9C-4FFF-8C5D-358452DF87FB}"/>
              </a:ext>
            </a:extLst>
          </p:cNvPr>
          <p:cNvSpPr txBox="1">
            <a:spLocks/>
          </p:cNvSpPr>
          <p:nvPr/>
        </p:nvSpPr>
        <p:spPr>
          <a:xfrm>
            <a:off x="75925" y="12687"/>
            <a:ext cx="11797600" cy="755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pPr defTabSz="1219170">
              <a:lnSpc>
                <a:spcPct val="120000"/>
              </a:lnSpc>
              <a:buClr>
                <a:srgbClr val="FFFFFF"/>
              </a:buClr>
            </a:pPr>
            <a:r>
              <a:rPr lang="en-IN" sz="4133" kern="0" dirty="0">
                <a:solidFill>
                  <a:srgbClr val="FFFFFF"/>
                </a:solidFill>
              </a:rPr>
              <a:t>Roles and Market Opportuniti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19F1357-446A-4537-9618-804818A3F112}"/>
              </a:ext>
            </a:extLst>
          </p:cNvPr>
          <p:cNvGrpSpPr/>
          <p:nvPr/>
        </p:nvGrpSpPr>
        <p:grpSpPr>
          <a:xfrm>
            <a:off x="3521224" y="3002900"/>
            <a:ext cx="3097600" cy="3001200"/>
            <a:chOff x="2586675" y="2252175"/>
            <a:chExt cx="2323200" cy="2250900"/>
          </a:xfrm>
        </p:grpSpPr>
        <p:sp>
          <p:nvSpPr>
            <p:cNvPr id="295" name="Google Shape;295;p15"/>
            <p:cNvSpPr/>
            <p:nvPr/>
          </p:nvSpPr>
          <p:spPr>
            <a:xfrm>
              <a:off x="2586675" y="2252175"/>
              <a:ext cx="2323200" cy="2250900"/>
            </a:xfrm>
            <a:prstGeom prst="ellipse">
              <a:avLst/>
            </a:prstGeom>
            <a:solidFill>
              <a:srgbClr val="FF9900"/>
            </a:solidFill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98" name="Google Shape;298;p15"/>
            <p:cNvSpPr txBox="1"/>
            <p:nvPr/>
          </p:nvSpPr>
          <p:spPr>
            <a:xfrm>
              <a:off x="2679032" y="2876516"/>
              <a:ext cx="1232871" cy="11079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/>
            <a:p>
              <a:pPr algn="ctr" defTabSz="1219170">
                <a:buClr>
                  <a:srgbClr val="000000"/>
                </a:buClr>
              </a:pPr>
              <a:r>
                <a:rPr lang="en" sz="1600" b="1" kern="0" dirty="0">
                  <a:solidFill>
                    <a:srgbClr val="000000"/>
                  </a:solidFill>
                  <a:latin typeface="Nunito"/>
                  <a:ea typeface="Nunito"/>
                  <a:cs typeface="Nunito"/>
                  <a:sym typeface="Nunito"/>
                </a:rPr>
                <a:t>Business Analyst </a:t>
              </a:r>
            </a:p>
            <a:p>
              <a:pPr algn="ctr" defTabSz="1219170">
                <a:buClr>
                  <a:srgbClr val="000000"/>
                </a:buClr>
              </a:pPr>
              <a:r>
                <a:rPr lang="en" sz="1600" b="1" kern="0" dirty="0">
                  <a:solidFill>
                    <a:srgbClr val="000000"/>
                  </a:solidFill>
                  <a:latin typeface="Nunito"/>
                  <a:ea typeface="Nunito"/>
                  <a:cs typeface="Nunito"/>
                  <a:sym typeface="Nunito"/>
                </a:rPr>
                <a:t>OR</a:t>
              </a:r>
            </a:p>
            <a:p>
              <a:pPr algn="ctr" defTabSz="1219170">
                <a:buClr>
                  <a:srgbClr val="000000"/>
                </a:buClr>
              </a:pPr>
              <a:r>
                <a:rPr lang="en" sz="1600" b="1" kern="0" dirty="0">
                  <a:solidFill>
                    <a:srgbClr val="000000"/>
                  </a:solidFill>
                  <a:latin typeface="Nunito"/>
                  <a:ea typeface="Nunito"/>
                  <a:cs typeface="Nunito"/>
                  <a:sym typeface="Nunito"/>
                </a:rPr>
                <a:t>Decision </a:t>
              </a:r>
            </a:p>
            <a:p>
              <a:pPr algn="ctr" defTabSz="1219170">
                <a:buClr>
                  <a:srgbClr val="000000"/>
                </a:buClr>
              </a:pPr>
              <a:r>
                <a:rPr lang="en" sz="1600" b="1" kern="0" dirty="0">
                  <a:solidFill>
                    <a:srgbClr val="000000"/>
                  </a:solidFill>
                  <a:latin typeface="Nunito"/>
                  <a:ea typeface="Nunito"/>
                  <a:cs typeface="Nunito"/>
                  <a:sym typeface="Nunito"/>
                </a:rPr>
                <a:t>Scientist</a:t>
              </a:r>
              <a:endParaRPr sz="1600" b="1" kern="0" dirty="0">
                <a:solidFill>
                  <a:srgbClr val="000000"/>
                </a:solidFill>
                <a:latin typeface="Nunito"/>
                <a:ea typeface="Nunito"/>
                <a:cs typeface="Nunito"/>
                <a:sym typeface="Nunito"/>
              </a:endParaRPr>
            </a:p>
          </p:txBody>
        </p:sp>
      </p:grpSp>
      <p:sp>
        <p:nvSpPr>
          <p:cNvPr id="23" name="Google Shape;303;p15">
            <a:extLst>
              <a:ext uri="{FF2B5EF4-FFF2-40B4-BE49-F238E27FC236}">
                <a16:creationId xmlns:a16="http://schemas.microsoft.com/office/drawing/2014/main" id="{417CB156-CC08-4B61-B03D-4A6D99C99EA3}"/>
              </a:ext>
            </a:extLst>
          </p:cNvPr>
          <p:cNvSpPr txBox="1"/>
          <p:nvPr/>
        </p:nvSpPr>
        <p:spPr>
          <a:xfrm>
            <a:off x="41490" y="3197554"/>
            <a:ext cx="3682800" cy="27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spcBef>
                <a:spcPts val="7"/>
              </a:spcBef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Common skills required - Problem solving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Result orientation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Client engagement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buClr>
                <a:srgbClr val="000000"/>
              </a:buClr>
            </a:pPr>
            <a:r>
              <a:rPr lang="en" sz="1600" kern="0" dirty="0">
                <a:solidFill>
                  <a:srgbClr val="FFFFFF"/>
                </a:solidFill>
                <a:latin typeface="Nunito"/>
                <a:ea typeface="Nunito"/>
                <a:cs typeface="Nunito"/>
                <a:sym typeface="Nunito"/>
              </a:rPr>
              <a:t>Business acumen</a:t>
            </a: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  <a:p>
            <a:pPr defTabSz="1219170">
              <a:spcBef>
                <a:spcPts val="7"/>
              </a:spcBef>
              <a:spcAft>
                <a:spcPts val="7"/>
              </a:spcAft>
              <a:buClr>
                <a:srgbClr val="000000"/>
              </a:buClr>
            </a:pPr>
            <a:endParaRPr sz="1600" kern="0" dirty="0">
              <a:solidFill>
                <a:srgbClr val="FFFFFF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cxnSp>
        <p:nvCxnSpPr>
          <p:cNvPr id="300" name="Google Shape;300;p15"/>
          <p:cNvCxnSpPr>
            <a:cxnSpLocks/>
          </p:cNvCxnSpPr>
          <p:nvPr/>
        </p:nvCxnSpPr>
        <p:spPr>
          <a:xfrm rot="16200000" flipV="1">
            <a:off x="2611822" y="2349232"/>
            <a:ext cx="2014268" cy="1289187"/>
          </a:xfrm>
          <a:prstGeom prst="bentConnector3">
            <a:avLst>
              <a:gd name="adj1" fmla="val 99756"/>
            </a:avLst>
          </a:prstGeom>
          <a:ln>
            <a:headEnd type="none" w="med" len="med"/>
            <a:tailEnd type="oval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4" name="Google Shape;294;p15">
            <a:extLst>
              <a:ext uri="{FF2B5EF4-FFF2-40B4-BE49-F238E27FC236}">
                <a16:creationId xmlns:a16="http://schemas.microsoft.com/office/drawing/2014/main" id="{23CAF2AD-4903-4FA8-BDB7-7CD8E83C58AF}"/>
              </a:ext>
            </a:extLst>
          </p:cNvPr>
          <p:cNvSpPr/>
          <p:nvPr/>
        </p:nvSpPr>
        <p:spPr>
          <a:xfrm>
            <a:off x="5335989" y="3264229"/>
            <a:ext cx="1336259" cy="2459812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>
            <a:solidFill>
              <a:schemeClr val="tx2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Google Shape;297;p15">
            <a:extLst>
              <a:ext uri="{FF2B5EF4-FFF2-40B4-BE49-F238E27FC236}">
                <a16:creationId xmlns:a16="http://schemas.microsoft.com/office/drawing/2014/main" id="{D7ACD3C3-CD7B-49C2-8AB7-16114ECF92BD}"/>
              </a:ext>
            </a:extLst>
          </p:cNvPr>
          <p:cNvSpPr txBox="1"/>
          <p:nvPr/>
        </p:nvSpPr>
        <p:spPr>
          <a:xfrm>
            <a:off x="4719498" y="4238929"/>
            <a:ext cx="259652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b="1" kern="0" dirty="0">
                <a:solidFill>
                  <a:srgbClr val="000000"/>
                </a:solidFill>
                <a:latin typeface="Nunito"/>
                <a:ea typeface="Nunito"/>
                <a:cs typeface="Nunito"/>
                <a:sym typeface="Nunito"/>
              </a:rPr>
              <a:t>ROLES</a:t>
            </a:r>
            <a:endParaRPr b="1" kern="0" dirty="0">
              <a:solidFill>
                <a:srgbClr val="000000"/>
              </a:solidFill>
              <a:latin typeface="Nunito"/>
              <a:ea typeface="Nunito"/>
              <a:cs typeface="Nunito"/>
              <a:sym typeface="Nunito"/>
            </a:endParaRPr>
          </a:p>
        </p:txBody>
      </p:sp>
      <p:cxnSp>
        <p:nvCxnSpPr>
          <p:cNvPr id="37" name="Google Shape;299;p15">
            <a:extLst>
              <a:ext uri="{FF2B5EF4-FFF2-40B4-BE49-F238E27FC236}">
                <a16:creationId xmlns:a16="http://schemas.microsoft.com/office/drawing/2014/main" id="{B9059810-FBC8-4190-8920-D50D07ECFD24}"/>
              </a:ext>
            </a:extLst>
          </p:cNvPr>
          <p:cNvCxnSpPr>
            <a:cxnSpLocks/>
          </p:cNvCxnSpPr>
          <p:nvPr/>
        </p:nvCxnSpPr>
        <p:spPr>
          <a:xfrm flipV="1">
            <a:off x="7822454" y="4186971"/>
            <a:ext cx="1175516" cy="313548"/>
          </a:xfrm>
          <a:prstGeom prst="bentConnector3">
            <a:avLst>
              <a:gd name="adj1" fmla="val 65821"/>
            </a:avLst>
          </a:prstGeom>
          <a:ln>
            <a:headEnd type="none" w="med" len="med"/>
            <a:tailEnd type="oval" w="med" len="med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B3BF58-9D50-42DA-AB47-F79891CF17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64159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B3BF58-9D50-42DA-AB47-F79891CF1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284;p14">
            <a:extLst>
              <a:ext uri="{FF2B5EF4-FFF2-40B4-BE49-F238E27FC236}">
                <a16:creationId xmlns:a16="http://schemas.microsoft.com/office/drawing/2014/main" id="{5BC828C7-A50B-4B88-BA9A-D6E8DF31448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79000" y="657225"/>
            <a:ext cx="11677200" cy="504825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2500" lnSpcReduction="20000"/>
          </a:bodyPr>
          <a:lstStyle/>
          <a:p>
            <a:pPr marL="0" indent="0"/>
            <a:r>
              <a:rPr lang="en-US" sz="2300" dirty="0"/>
              <a:t>Major Data Science Applications in the Industries  </a:t>
            </a:r>
          </a:p>
        </p:txBody>
      </p:sp>
      <p:sp>
        <p:nvSpPr>
          <p:cNvPr id="10" name="Google Shape;283;p14">
            <a:extLst>
              <a:ext uri="{FF2B5EF4-FFF2-40B4-BE49-F238E27FC236}">
                <a16:creationId xmlns:a16="http://schemas.microsoft.com/office/drawing/2014/main" id="{4C32303D-4610-4152-92BE-759ABFAD924E}"/>
              </a:ext>
            </a:extLst>
          </p:cNvPr>
          <p:cNvSpPr txBox="1">
            <a:spLocks/>
          </p:cNvSpPr>
          <p:nvPr/>
        </p:nvSpPr>
        <p:spPr>
          <a:xfrm>
            <a:off x="218800" y="-1"/>
            <a:ext cx="11797600" cy="8191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rmAutofit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Maven Pro"/>
              <a:buNone/>
              <a:defRPr sz="3600" b="1" i="0" u="none" strike="noStrike" cap="none">
                <a:solidFill>
                  <a:schemeClr val="lt1"/>
                </a:solidFill>
                <a:latin typeface="Maven Pro"/>
                <a:ea typeface="Maven Pro"/>
                <a:cs typeface="Maven Pro"/>
                <a:sym typeface="Maven Pro"/>
              </a:defRPr>
            </a:lvl9pPr>
          </a:lstStyle>
          <a:p>
            <a:pPr defTabSz="1219170">
              <a:buClr>
                <a:srgbClr val="FFFFFF"/>
              </a:buClr>
            </a:pPr>
            <a:r>
              <a:rPr lang="en-US" sz="4133" kern="0" dirty="0">
                <a:solidFill>
                  <a:srgbClr val="FFFFFF"/>
                </a:solidFill>
              </a:rPr>
              <a:t>Industries Leveraging Data Scienc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F593E9D-52DA-488E-AE77-6E19AA30FF40}"/>
              </a:ext>
            </a:extLst>
          </p:cNvPr>
          <p:cNvGrpSpPr/>
          <p:nvPr/>
        </p:nvGrpSpPr>
        <p:grpSpPr>
          <a:xfrm>
            <a:off x="1428750" y="1295400"/>
            <a:ext cx="10182225" cy="5372100"/>
            <a:chOff x="1274643" y="1270862"/>
            <a:chExt cx="9642716" cy="5052447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CB31611-DB55-440B-BB25-F38D28EB6C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88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274643" y="1270862"/>
              <a:ext cx="9642716" cy="5052447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D6BC1FF-BDA7-4DA3-B51A-65E51E099DC3}"/>
                </a:ext>
              </a:extLst>
            </p:cNvPr>
            <p:cNvSpPr/>
            <p:nvPr/>
          </p:nvSpPr>
          <p:spPr>
            <a:xfrm>
              <a:off x="10106025" y="5944926"/>
              <a:ext cx="792282" cy="370184"/>
            </a:xfrm>
            <a:prstGeom prst="rect">
              <a:avLst/>
            </a:prstGeom>
            <a:solidFill>
              <a:srgbClr val="EEC186"/>
            </a:solidFill>
            <a:ln>
              <a:solidFill>
                <a:srgbClr val="EEC18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250250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mentum">
  <a:themeElements>
    <a:clrScheme name="Momentum">
      <a:dk1>
        <a:srgbClr val="C0791B"/>
      </a:dk1>
      <a:lt1>
        <a:srgbClr val="FFFFFF"/>
      </a:lt1>
      <a:dk2>
        <a:srgbClr val="424242"/>
      </a:dk2>
      <a:lt2>
        <a:srgbClr val="8DD8D3"/>
      </a:lt2>
      <a:accent1>
        <a:srgbClr val="0B6374"/>
      </a:accent1>
      <a:accent2>
        <a:srgbClr val="FD5B58"/>
      </a:accent2>
      <a:accent3>
        <a:srgbClr val="599191"/>
      </a:accent3>
      <a:accent4>
        <a:srgbClr val="D7E6A3"/>
      </a:accent4>
      <a:accent5>
        <a:srgbClr val="27278B"/>
      </a:accent5>
      <a:accent6>
        <a:srgbClr val="D558AB"/>
      </a:accent6>
      <a:hlink>
        <a:srgbClr val="27278B"/>
      </a:hlink>
      <a:folHlink>
        <a:srgbClr val="2727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7</TotalTime>
  <Words>1145</Words>
  <Application>Microsoft Macintosh PowerPoint</Application>
  <PresentationFormat>Widescreen</PresentationFormat>
  <Paragraphs>177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Maven Pro</vt:lpstr>
      <vt:lpstr>Nunito</vt:lpstr>
      <vt:lpstr>Source Sans Pro</vt:lpstr>
      <vt:lpstr>Momentum</vt:lpstr>
      <vt:lpstr>think-cell Slide</vt:lpstr>
      <vt:lpstr>Job Readiness in AI &amp;  Data Science</vt:lpstr>
      <vt:lpstr>Introduction</vt:lpstr>
      <vt:lpstr>PowerPoint Presentation</vt:lpstr>
      <vt:lpstr>Objective</vt:lpstr>
      <vt:lpstr>History of Data Science</vt:lpstr>
      <vt:lpstr>Data Science Process</vt:lpstr>
      <vt:lpstr>Pre-requisites</vt:lpstr>
      <vt:lpstr>PowerPoint Presentation</vt:lpstr>
      <vt:lpstr>PowerPoint Presentation</vt:lpstr>
      <vt:lpstr>Data Science Readiness Toolkit</vt:lpstr>
      <vt:lpstr>Where we can learn from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iket Chhabra</dc:creator>
  <cp:lastModifiedBy>Aniket Chhabra</cp:lastModifiedBy>
  <cp:revision>1</cp:revision>
  <dcterms:created xsi:type="dcterms:W3CDTF">2021-06-25T12:03:07Z</dcterms:created>
  <dcterms:modified xsi:type="dcterms:W3CDTF">2022-04-30T07:02:45Z</dcterms:modified>
</cp:coreProperties>
</file>